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tags/tag13.xml" ContentType="application/vnd.openxmlformats-officedocument.presentationml.tags+xml"/>
  <Override PartName="/ppt/notesSlides/notesSlide10.xml" ContentType="application/vnd.openxmlformats-officedocument.presentationml.notesSlide+xml"/>
  <Override PartName="/ppt/tags/tag14.xml" ContentType="application/vnd.openxmlformats-officedocument.presentationml.tags+xml"/>
  <Override PartName="/ppt/notesSlides/notesSlide11.xml" ContentType="application/vnd.openxmlformats-officedocument.presentationml.notesSlide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notesSlides/notesSlide14.xml" ContentType="application/vnd.openxmlformats-officedocument.presentationml.notesSlide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notesSlides/notesSlide16.xml" ContentType="application/vnd.openxmlformats-officedocument.presentationml.notesSlide+xml"/>
  <Override PartName="/ppt/tags/tag20.xml" ContentType="application/vnd.openxmlformats-officedocument.presentationml.tags+xml"/>
  <Override PartName="/ppt/notesSlides/notesSlide17.xml" ContentType="application/vnd.openxmlformats-officedocument.presentationml.notesSlide+xml"/>
  <Override PartName="/ppt/tags/tag21.xml" ContentType="application/vnd.openxmlformats-officedocument.presentationml.tags+xml"/>
  <Override PartName="/ppt/notesSlides/notesSlide18.xml" ContentType="application/vnd.openxmlformats-officedocument.presentationml.notesSlide+xml"/>
  <Override PartName="/ppt/tags/tag22.xml" ContentType="application/vnd.openxmlformats-officedocument.presentationml.tags+xml"/>
  <Override PartName="/ppt/notesSlides/notesSlide19.xml" ContentType="application/vnd.openxmlformats-officedocument.presentationml.notesSlide+xml"/>
  <Override PartName="/ppt/tags/tag23.xml" ContentType="application/vnd.openxmlformats-officedocument.presentationml.tags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5"/>
  </p:notesMasterIdLst>
  <p:handoutMasterIdLst>
    <p:handoutMasterId r:id="rId36"/>
  </p:handoutMasterIdLst>
  <p:sldIdLst>
    <p:sldId id="325" r:id="rId2"/>
    <p:sldId id="641" r:id="rId3"/>
    <p:sldId id="644" r:id="rId4"/>
    <p:sldId id="654" r:id="rId5"/>
    <p:sldId id="661" r:id="rId6"/>
    <p:sldId id="663" r:id="rId7"/>
    <p:sldId id="646" r:id="rId8"/>
    <p:sldId id="647" r:id="rId9"/>
    <p:sldId id="665" r:id="rId10"/>
    <p:sldId id="666" r:id="rId11"/>
    <p:sldId id="667" r:id="rId12"/>
    <p:sldId id="668" r:id="rId13"/>
    <p:sldId id="669" r:id="rId14"/>
    <p:sldId id="673" r:id="rId15"/>
    <p:sldId id="674" r:id="rId16"/>
    <p:sldId id="660" r:id="rId17"/>
    <p:sldId id="670" r:id="rId18"/>
    <p:sldId id="645" r:id="rId19"/>
    <p:sldId id="637" r:id="rId20"/>
    <p:sldId id="653" r:id="rId21"/>
    <p:sldId id="655" r:id="rId22"/>
    <p:sldId id="671" r:id="rId23"/>
    <p:sldId id="626" r:id="rId24"/>
    <p:sldId id="648" r:id="rId25"/>
    <p:sldId id="649" r:id="rId26"/>
    <p:sldId id="657" r:id="rId27"/>
    <p:sldId id="658" r:id="rId28"/>
    <p:sldId id="659" r:id="rId29"/>
    <p:sldId id="675" r:id="rId30"/>
    <p:sldId id="672" r:id="rId31"/>
    <p:sldId id="643" r:id="rId32"/>
    <p:sldId id="642" r:id="rId33"/>
    <p:sldId id="664" r:id="rId34"/>
  </p:sldIdLst>
  <p:sldSz cx="12192000" cy="6858000"/>
  <p:notesSz cx="6805613" cy="9944100"/>
  <p:custDataLst>
    <p:tags r:id="rId3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D64214"/>
    <a:srgbClr val="ED7D31"/>
    <a:srgbClr val="EAB200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00" autoAdjust="0"/>
    <p:restoredTop sz="55431" autoAdjust="0"/>
  </p:normalViewPr>
  <p:slideViewPr>
    <p:cSldViewPr snapToGrid="0">
      <p:cViewPr>
        <p:scale>
          <a:sx n="100" d="100"/>
          <a:sy n="100" d="100"/>
        </p:scale>
        <p:origin x="186" y="420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391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13.08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13.08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>
                <a:solidFill>
                  <a:prstClr val="black"/>
                </a:solidFill>
              </a:rPr>
              <a:pPr/>
              <a:t>13.08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>
                <a:solidFill>
                  <a:prstClr val="black"/>
                </a:solidFill>
              </a:rPr>
              <a:pPr/>
              <a:t>13.08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>
                <a:solidFill>
                  <a:prstClr val="black"/>
                </a:solidFill>
              </a:rPr>
              <a:t>1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>
                <a:solidFill>
                  <a:prstClr val="black"/>
                </a:solidFill>
              </a:rPr>
              <a:pPr/>
              <a:t>13.08.2020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23240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232409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ой экономической школы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е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–9 классы).</a:t>
            </a:r>
          </a:p>
          <a:p>
            <a:pPr indent="287970"/>
            <a:r>
              <a:rPr lang="ru-RU" b="1" dirty="0"/>
              <a:t>В УМК в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ступной и понятной форме изложены следующие темы</a:t>
            </a:r>
            <a:r>
              <a:rPr lang="ru-RU" b="1" dirty="0"/>
              <a:t>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пособы сохранить и преумножить сбережен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.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44340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ой экономической школы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е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–9 классы).</a:t>
            </a:r>
          </a:p>
          <a:p>
            <a:pPr indent="287970"/>
            <a:r>
              <a:rPr lang="ru-RU" b="1" dirty="0"/>
              <a:t>В УМК в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ступной и понятной форме изложены следующие темы</a:t>
            </a:r>
            <a:r>
              <a:rPr lang="ru-RU" b="1" dirty="0"/>
              <a:t>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пособы сохранить и преумножить сбережен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.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06030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ой экономической школы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е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–9 классы).</a:t>
            </a:r>
          </a:p>
          <a:p>
            <a:pPr indent="287970"/>
            <a:r>
              <a:rPr lang="ru-RU" b="1" dirty="0"/>
              <a:t>В УМК в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оступной и понятной форме изложены следующие темы</a:t>
            </a:r>
            <a:r>
              <a:rPr lang="ru-RU" b="1" dirty="0"/>
              <a:t>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пособы сохранить и преумножить сбережен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;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.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6952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38198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20188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123136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— педагогических и информационных, —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—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—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494465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07618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002698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B41B17-1BDD-4936-9ADF-A2ABFA4D1522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97727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75137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1926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88000"/>
            <a:r>
              <a:rPr lang="ru-RU" sz="1800" dirty="0"/>
              <a:t>– «Экология»,</a:t>
            </a:r>
          </a:p>
          <a:p>
            <a:pPr indent="288000"/>
            <a:r>
              <a:rPr lang="ru-RU" sz="1800" dirty="0"/>
              <a:t>– «Лидерство»,</a:t>
            </a:r>
          </a:p>
          <a:p>
            <a:pPr indent="288000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13.08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33572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74056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7" name="Слайд think-cell" r:id="rId17" imgW="359" imgH="360" progId="TCLayout.ActiveDocument.1">
                  <p:embed/>
                </p:oleObj>
              </mc:Choice>
              <mc:Fallback>
                <p:oleObj name="Слайд think-cell" r:id="rId1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30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2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4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36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7.png"/><Relationship Id="rId12" Type="http://schemas.openxmlformats.org/officeDocument/2006/relationships/image" Target="../media/image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41.png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40.png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2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43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4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24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50.png"/><Relationship Id="rId7" Type="http://schemas.openxmlformats.org/officeDocument/2006/relationships/image" Target="../media/image53.gif"/><Relationship Id="rId12" Type="http://schemas.openxmlformats.org/officeDocument/2006/relationships/image" Target="../media/image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11" Type="http://schemas.openxmlformats.org/officeDocument/2006/relationships/image" Target="../media/image56.png"/><Relationship Id="rId5" Type="http://schemas.openxmlformats.org/officeDocument/2006/relationships/image" Target="../media/image52.jpeg"/><Relationship Id="rId10" Type="http://schemas.openxmlformats.org/officeDocument/2006/relationships/image" Target="../media/image55.png"/><Relationship Id="rId4" Type="http://schemas.openxmlformats.org/officeDocument/2006/relationships/image" Target="../media/image51.png"/><Relationship Id="rId9" Type="http://schemas.openxmlformats.org/officeDocument/2006/relationships/hyperlink" Target="https://prosv.ru/pages/pisa.html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7.xml"/><Relationship Id="rId10" Type="http://schemas.openxmlformats.org/officeDocument/2006/relationships/hyperlink" Target="mailto:dobrotina.irina@yandex.ru" TargetMode="Externa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12" Type="http://schemas.openxmlformats.org/officeDocument/2006/relationships/image" Target="../media/image1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hyperlink" Target="https://fgosreestr.ru/" TargetMode="Externa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8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6379" y="5131008"/>
            <a:ext cx="10977053" cy="292388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 КОМПАНИЙ «ПРОСВЕЩЕНИЕ» 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33845" y="2367401"/>
            <a:ext cx="10804038" cy="2339102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«Родная литература (русская)»: 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32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чинаем учебный год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endParaRPr lang="ru-RU" sz="3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одная литература.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2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тературное чтение на родном языке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овые  УМК по родной русской литературе и литературному чтению  на родном русском языке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91773" y="5996760"/>
            <a:ext cx="114087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</a:t>
            </a:r>
            <a:endParaRPr lang="en-US" sz="1000" dirty="0">
              <a:solidFill>
                <a:schemeClr val="bg1"/>
              </a:solidFill>
            </a:endParaRPr>
          </a:p>
          <a:p>
            <a:r>
              <a:rPr lang="ru-RU" sz="1000" dirty="0">
                <a:solidFill>
                  <a:schemeClr val="bg1"/>
                </a:solidFill>
              </a:rPr>
              <a:t>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Издательство  «Просвещение», 2020 г.</a:t>
            </a:r>
          </a:p>
        </p:txBody>
      </p:sp>
      <p:pic>
        <p:nvPicPr>
          <p:cNvPr id="28" name="Picture 7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79" y="1014118"/>
            <a:ext cx="2133600" cy="1042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389703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 русская </a:t>
            </a:r>
          </a:p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» не повторяет содержания  курса «Литература» и сведений                         по истории и теории литературы 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1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(Курская область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258" name="Picture 2"/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17" t="11380" r="59584" b="40426"/>
          <a:stretch/>
        </p:blipFill>
        <p:spPr bwMode="auto">
          <a:xfrm>
            <a:off x="796158" y="973693"/>
            <a:ext cx="5478518" cy="503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0" name="Picture 4"/>
          <p:cNvPicPr>
            <a:picLocks noGrp="1" noChangeAspect="1" noChangeArrowheads="1"/>
          </p:cNvPicPr>
          <p:nvPr>
            <p:ph sz="half" idx="2"/>
          </p:nvPr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689" t="11409" r="14707" b="30426"/>
          <a:stretch/>
        </p:blipFill>
        <p:spPr bwMode="auto">
          <a:xfrm>
            <a:off x="6302818" y="1155710"/>
            <a:ext cx="5472355" cy="5491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09687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 русская </a:t>
            </a:r>
          </a:p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» не повторяет содержания  курса «Литература» и сведений                         по истории и теории литературы 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11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(Орловская область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446689" y="1140823"/>
            <a:ext cx="512642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аздел 1. УНТ области/края.</a:t>
            </a:r>
          </a:p>
          <a:p>
            <a:r>
              <a:rPr lang="ru-RU" dirty="0"/>
              <a:t>Раздел 2. Творчество местных поэтов и писателей</a:t>
            </a:r>
          </a:p>
          <a:p>
            <a:r>
              <a:rPr lang="ru-RU" dirty="0"/>
              <a:t>XIX века, XX века, современные авторы </a:t>
            </a:r>
          </a:p>
          <a:p>
            <a:r>
              <a:rPr lang="ru-RU" dirty="0"/>
              <a:t>Раздел 3. Публицистика области/края.</a:t>
            </a:r>
          </a:p>
        </p:txBody>
      </p:sp>
      <p:pic>
        <p:nvPicPr>
          <p:cNvPr id="98307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7" t="15346" r="51367" b="13238"/>
          <a:stretch/>
        </p:blipFill>
        <p:spPr bwMode="auto">
          <a:xfrm>
            <a:off x="906516" y="2449102"/>
            <a:ext cx="3980793" cy="4271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8308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51" t="15498" r="51078" b="23656"/>
          <a:stretch/>
        </p:blipFill>
        <p:spPr bwMode="auto">
          <a:xfrm>
            <a:off x="5853195" y="1324301"/>
            <a:ext cx="5842650" cy="5184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05141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 русская </a:t>
            </a:r>
          </a:p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» не повторяет содержания  курса «Литература» и сведений                         по истории и теории литературы 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(Брянская область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338959" y="973693"/>
            <a:ext cx="6321971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2F5597"/>
                </a:solidFill>
              </a:rPr>
              <a:t>На изучение модуля «Литературная </a:t>
            </a:r>
            <a:r>
              <a:rPr lang="ru-RU" sz="2000" dirty="0" err="1">
                <a:solidFill>
                  <a:srgbClr val="2F5597"/>
                </a:solidFill>
              </a:rPr>
              <a:t>Брянщина</a:t>
            </a:r>
            <a:r>
              <a:rPr lang="ru-RU" sz="2000" dirty="0">
                <a:solidFill>
                  <a:srgbClr val="2F5597"/>
                </a:solidFill>
              </a:rPr>
              <a:t>» отводится в 7 классе 35часов, по 1 уроку в неделю.</a:t>
            </a:r>
          </a:p>
          <a:p>
            <a:endParaRPr lang="ru-RU" sz="2000" dirty="0">
              <a:solidFill>
                <a:srgbClr val="2F5597"/>
              </a:solidFill>
            </a:endParaRPr>
          </a:p>
          <a:p>
            <a:r>
              <a:rPr lang="ru-RU" sz="2000" dirty="0">
                <a:solidFill>
                  <a:srgbClr val="2F5597"/>
                </a:solidFill>
              </a:rPr>
              <a:t>«Святая вера в отчий край и дом» - произведения местных авторов о малой родине, </a:t>
            </a:r>
          </a:p>
          <a:p>
            <a:r>
              <a:rPr lang="ru-RU" sz="2000" dirty="0">
                <a:solidFill>
                  <a:srgbClr val="2F5597"/>
                </a:solidFill>
              </a:rPr>
              <a:t>«Листает ветер летопись веков» - историческая тема в местной литературе, </a:t>
            </a:r>
          </a:p>
          <a:p>
            <a:r>
              <a:rPr lang="ru-RU" sz="2000" dirty="0">
                <a:solidFill>
                  <a:srgbClr val="2F5597"/>
                </a:solidFill>
              </a:rPr>
              <a:t>«Давайте жить светло и честно» - нравственные проблемы в произведениях местных писателей, </a:t>
            </a:r>
          </a:p>
          <a:p>
            <a:r>
              <a:rPr lang="ru-RU" sz="2000" dirty="0">
                <a:solidFill>
                  <a:srgbClr val="2F5597"/>
                </a:solidFill>
              </a:rPr>
              <a:t>«Живу в объятии природы» - родная природа в местной литературе, </a:t>
            </a:r>
          </a:p>
          <a:p>
            <a:r>
              <a:rPr lang="ru-RU" sz="2000" dirty="0">
                <a:solidFill>
                  <a:srgbClr val="2F5597"/>
                </a:solidFill>
              </a:rPr>
              <a:t>«Любовь к мудрости» - философские проблемы в творчестве местных писателей, </a:t>
            </a:r>
          </a:p>
          <a:p>
            <a:r>
              <a:rPr lang="ru-RU" sz="2000" dirty="0">
                <a:solidFill>
                  <a:srgbClr val="2F5597"/>
                </a:solidFill>
              </a:rPr>
              <a:t>«Когда полыхала планета» - тема Великой Отечественной войны в произведениях местных писателей.</a:t>
            </a:r>
          </a:p>
        </p:txBody>
      </p:sp>
      <p:pic>
        <p:nvPicPr>
          <p:cNvPr id="99330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00" t="50000" r="30285" b="17942"/>
          <a:stretch/>
        </p:blipFill>
        <p:spPr bwMode="auto">
          <a:xfrm>
            <a:off x="6557511" y="2440771"/>
            <a:ext cx="5273845" cy="2426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643449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>
                <a:solidFill>
                  <a:prstClr val="white"/>
                </a:solidFill>
              </a:rPr>
              <a:t>      </a:t>
            </a:r>
            <a:endParaRPr lang="ru-RU" sz="1600" b="1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prstClr val="white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 русская </a:t>
            </a:r>
          </a:p>
          <a:p>
            <a:r>
              <a:rPr lang="ru-RU" sz="2000" dirty="0">
                <a:solidFill>
                  <a:prstClr val="white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» не повторяет содержания  курса «Литература» и сведений                         по истории и теории литературы 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white"/>
                </a:solidFill>
              </a:rPr>
              <a:pPr/>
              <a:t>1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(Красноярский край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1379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83" t="37755" r="23163" b="33418"/>
          <a:stretch/>
        </p:blipFill>
        <p:spPr bwMode="auto">
          <a:xfrm>
            <a:off x="450617" y="1150305"/>
            <a:ext cx="5122493" cy="1679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58064" y="3231931"/>
            <a:ext cx="587719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облемно-тематический принцип:</a:t>
            </a:r>
          </a:p>
          <a:p>
            <a:r>
              <a:rPr lang="ru-RU" dirty="0"/>
              <a:t>5 класс. «Сибирская природа. Сибиряк на своей земле»: </a:t>
            </a:r>
          </a:p>
          <a:p>
            <a:r>
              <a:rPr lang="ru-RU" dirty="0"/>
              <a:t>фольклор, поэты о родной природе, мир детства, сибиряк на своей земле </a:t>
            </a:r>
          </a:p>
          <a:p>
            <a:r>
              <a:rPr lang="ru-RU" dirty="0"/>
              <a:t>6 класс. «Сибирская семья»: мы часть природы, законы доброты, братья наши меньшие</a:t>
            </a:r>
          </a:p>
          <a:p>
            <a:r>
              <a:rPr lang="ru-RU" dirty="0"/>
              <a:t>9 класс. «Человек – род – память»: малая родина, историческая память, быть человеком, время настоящее и будущее</a:t>
            </a:r>
          </a:p>
          <a:p>
            <a:endParaRPr lang="ru-RU" dirty="0"/>
          </a:p>
        </p:txBody>
      </p:sp>
      <p:pic>
        <p:nvPicPr>
          <p:cNvPr id="101380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71" t="18502" r="20627" b="15595"/>
          <a:stretch/>
        </p:blipFill>
        <p:spPr bwMode="auto">
          <a:xfrm>
            <a:off x="6238022" y="1634314"/>
            <a:ext cx="5687312" cy="3970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4815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>
                <a:solidFill>
                  <a:prstClr val="white"/>
                </a:solidFill>
              </a:rPr>
              <a:t>      </a:t>
            </a:r>
            <a:endParaRPr lang="ru-RU" sz="1600" b="1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white"/>
                </a:solidFill>
              </a:rPr>
              <a:pPr/>
              <a:t>14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 </a:t>
            </a:r>
            <a:r>
              <a:rPr lang="ru-RU" sz="2400" b="1" dirty="0" smtClean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Смоленская область)</a:t>
            </a:r>
            <a:endParaRPr lang="ru-RU" sz="2400" b="1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545012" y="1038587"/>
            <a:ext cx="11061799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2F5597"/>
                </a:solidFill>
              </a:rPr>
              <a:t>СОДЕРЖАНИЕ УЧЕБНОГО </a:t>
            </a:r>
            <a:r>
              <a:rPr lang="ru-RU" dirty="0" smtClean="0">
                <a:solidFill>
                  <a:srgbClr val="2F5597"/>
                </a:solidFill>
              </a:rPr>
              <a:t>ПРЕДМЕТА ,  9 </a:t>
            </a:r>
            <a:r>
              <a:rPr lang="ru-RU" dirty="0">
                <a:solidFill>
                  <a:srgbClr val="2F5597"/>
                </a:solidFill>
              </a:rPr>
              <a:t>КЛАСС (17 ЧАСОВ)</a:t>
            </a:r>
          </a:p>
          <a:p>
            <a:r>
              <a:rPr lang="ru-RU" dirty="0">
                <a:solidFill>
                  <a:srgbClr val="2F5597"/>
                </a:solidFill>
              </a:rPr>
              <a:t>Введение</a:t>
            </a:r>
          </a:p>
          <a:p>
            <a:r>
              <a:rPr lang="ru-RU" dirty="0">
                <a:solidFill>
                  <a:srgbClr val="2F5597"/>
                </a:solidFill>
              </a:rPr>
              <a:t>Книги, которые помогают жить. «Литература — это всё же жизнь души</a:t>
            </a:r>
          </a:p>
          <a:p>
            <a:r>
              <a:rPr lang="ru-RU" dirty="0">
                <a:solidFill>
                  <a:srgbClr val="2F5597"/>
                </a:solidFill>
              </a:rPr>
              <a:t>человеческой, никак не идея. Рассказ должен разбередить душу, войти прямо </a:t>
            </a:r>
            <a:r>
              <a:rPr lang="ru-RU" dirty="0" smtClean="0">
                <a:solidFill>
                  <a:srgbClr val="2F5597"/>
                </a:solidFill>
              </a:rPr>
              <a:t>в сердце</a:t>
            </a:r>
            <a:r>
              <a:rPr lang="ru-RU" dirty="0">
                <a:solidFill>
                  <a:srgbClr val="2F5597"/>
                </a:solidFill>
              </a:rPr>
              <a:t>, утешить, успокоить» (В. Шукшин).</a:t>
            </a:r>
          </a:p>
          <a:p>
            <a:r>
              <a:rPr lang="ru-RU" dirty="0">
                <a:solidFill>
                  <a:srgbClr val="2F5597"/>
                </a:solidFill>
              </a:rPr>
              <a:t>Мир детства</a:t>
            </a:r>
          </a:p>
          <a:p>
            <a:r>
              <a:rPr lang="ru-RU" dirty="0">
                <a:solidFill>
                  <a:srgbClr val="2F5597"/>
                </a:solidFill>
              </a:rPr>
              <a:t>Ю. </a:t>
            </a:r>
            <a:r>
              <a:rPr lang="ru-RU" dirty="0" err="1">
                <a:solidFill>
                  <a:srgbClr val="2F5597"/>
                </a:solidFill>
              </a:rPr>
              <a:t>Куранов</a:t>
            </a:r>
            <a:r>
              <a:rPr lang="ru-RU" dirty="0">
                <a:solidFill>
                  <a:srgbClr val="2F5597"/>
                </a:solidFill>
              </a:rPr>
              <a:t> «Царевна». Детская вера в сказку. «Тихий, древний, </a:t>
            </a:r>
            <a:r>
              <a:rPr lang="ru-RU" dirty="0" smtClean="0">
                <a:solidFill>
                  <a:srgbClr val="2F5597"/>
                </a:solidFill>
              </a:rPr>
              <a:t>мудрый голос </a:t>
            </a:r>
            <a:r>
              <a:rPr lang="ru-RU" dirty="0">
                <a:solidFill>
                  <a:srgbClr val="2F5597"/>
                </a:solidFill>
              </a:rPr>
              <a:t>русской сказки» (А. Ильин). «Обыкновенное чудо».</a:t>
            </a:r>
          </a:p>
          <a:p>
            <a:r>
              <a:rPr lang="ru-RU" dirty="0">
                <a:solidFill>
                  <a:srgbClr val="2F5597"/>
                </a:solidFill>
              </a:rPr>
              <a:t>Нравственность</a:t>
            </a:r>
          </a:p>
          <a:p>
            <a:r>
              <a:rPr lang="ru-RU" dirty="0">
                <a:solidFill>
                  <a:srgbClr val="2F5597"/>
                </a:solidFill>
              </a:rPr>
              <a:t>Ю. Буйда «Продавец добра». Добро как материальные ценности, </a:t>
            </a:r>
            <a:r>
              <a:rPr lang="ru-RU" dirty="0" smtClean="0">
                <a:solidFill>
                  <a:srgbClr val="2F5597"/>
                </a:solidFill>
              </a:rPr>
              <a:t>его всесилие </a:t>
            </a:r>
            <a:r>
              <a:rPr lang="ru-RU" dirty="0">
                <a:solidFill>
                  <a:srgbClr val="2F5597"/>
                </a:solidFill>
              </a:rPr>
              <a:t>в современном писателю мире. Истинный смысл слова «добро</a:t>
            </a:r>
            <a:r>
              <a:rPr lang="ru-RU" dirty="0" smtClean="0">
                <a:solidFill>
                  <a:srgbClr val="2F5597"/>
                </a:solidFill>
              </a:rPr>
              <a:t>». «</a:t>
            </a:r>
            <a:r>
              <a:rPr lang="ru-RU" dirty="0">
                <a:solidFill>
                  <a:srgbClr val="2F5597"/>
                </a:solidFill>
              </a:rPr>
              <a:t>Добра-то много, да добра нет».</a:t>
            </a:r>
          </a:p>
          <a:p>
            <a:r>
              <a:rPr lang="ru-RU" dirty="0">
                <a:solidFill>
                  <a:srgbClr val="2F5597"/>
                </a:solidFill>
              </a:rPr>
              <a:t>А. Алексин «Ты меня слышишь?». Неравнодушие юной девушки, </a:t>
            </a:r>
            <a:r>
              <a:rPr lang="ru-RU" dirty="0" smtClean="0">
                <a:solidFill>
                  <a:srgbClr val="2F5597"/>
                </a:solidFill>
              </a:rPr>
              <a:t>душевная чуткость </a:t>
            </a:r>
            <a:r>
              <a:rPr lang="ru-RU" dirty="0">
                <a:solidFill>
                  <a:srgbClr val="2F5597"/>
                </a:solidFill>
              </a:rPr>
              <a:t>героини-телефонистки, умение услышать внутреннюю </a:t>
            </a:r>
            <a:r>
              <a:rPr lang="ru-RU" dirty="0" smtClean="0">
                <a:solidFill>
                  <a:srgbClr val="2F5597"/>
                </a:solidFill>
              </a:rPr>
              <a:t>тревогу клиента </a:t>
            </a:r>
            <a:r>
              <a:rPr lang="ru-RU" dirty="0">
                <a:solidFill>
                  <a:srgbClr val="2F5597"/>
                </a:solidFill>
              </a:rPr>
              <a:t>– геолога, пришедшего издалека на почту, чтобы в день </a:t>
            </a:r>
            <a:r>
              <a:rPr lang="ru-RU" dirty="0" smtClean="0">
                <a:solidFill>
                  <a:srgbClr val="2F5597"/>
                </a:solidFill>
              </a:rPr>
              <a:t>рождения поговорить </a:t>
            </a:r>
            <a:r>
              <a:rPr lang="ru-RU" dirty="0">
                <a:solidFill>
                  <a:srgbClr val="2F5597"/>
                </a:solidFill>
              </a:rPr>
              <a:t>с женой по телефону. Повесть А. Алексина как «мастерская</a:t>
            </a:r>
          </a:p>
          <a:p>
            <a:r>
              <a:rPr lang="ru-RU" dirty="0">
                <a:solidFill>
                  <a:srgbClr val="2F5597"/>
                </a:solidFill>
              </a:rPr>
              <a:t>доброты».</a:t>
            </a:r>
          </a:p>
          <a:p>
            <a:r>
              <a:rPr lang="ru-RU" dirty="0">
                <a:solidFill>
                  <a:srgbClr val="2F5597"/>
                </a:solidFill>
              </a:rPr>
              <a:t>В. </a:t>
            </a:r>
            <a:r>
              <a:rPr lang="ru-RU" dirty="0" err="1">
                <a:solidFill>
                  <a:srgbClr val="2F5597"/>
                </a:solidFill>
              </a:rPr>
              <a:t>Крупин</a:t>
            </a:r>
            <a:r>
              <a:rPr lang="ru-RU" dirty="0">
                <a:solidFill>
                  <a:srgbClr val="2F5597"/>
                </a:solidFill>
              </a:rPr>
              <a:t> «А ты улыбайся!». Тема добра и зла. Проблема </a:t>
            </a:r>
            <a:r>
              <a:rPr lang="ru-RU" dirty="0" smtClean="0">
                <a:solidFill>
                  <a:srgbClr val="2F5597"/>
                </a:solidFill>
              </a:rPr>
              <a:t>детской жестокости</a:t>
            </a:r>
            <a:r>
              <a:rPr lang="ru-RU" dirty="0">
                <a:solidFill>
                  <a:srgbClr val="2F5597"/>
                </a:solidFill>
              </a:rPr>
              <a:t>, её причины, наша ответственность за неё.</a:t>
            </a:r>
          </a:p>
          <a:p>
            <a:r>
              <a:rPr lang="ru-RU" dirty="0">
                <a:solidFill>
                  <a:srgbClr val="2F5597"/>
                </a:solidFill>
              </a:rPr>
              <a:t>Сочинение-рассуждение на тему: «Быть или не быть добру в этом мире</a:t>
            </a:r>
            <a:r>
              <a:rPr lang="ru-RU" dirty="0" smtClean="0">
                <a:solidFill>
                  <a:srgbClr val="2F5597"/>
                </a:solidFill>
              </a:rPr>
              <a:t>?» или </a:t>
            </a:r>
            <a:r>
              <a:rPr lang="ru-RU" dirty="0">
                <a:solidFill>
                  <a:srgbClr val="2F5597"/>
                </a:solidFill>
              </a:rPr>
              <a:t>«Что такое добро?»</a:t>
            </a:r>
          </a:p>
        </p:txBody>
      </p:sp>
    </p:spTree>
    <p:extLst>
      <p:ext uri="{BB962C8B-B14F-4D97-AF65-F5344CB8AC3E}">
        <p14:creationId xmlns:p14="http://schemas.microsoft.com/office/powerpoint/2010/main" val="8853238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>
                <a:solidFill>
                  <a:prstClr val="white"/>
                </a:solidFill>
              </a:rPr>
              <a:t>      </a:t>
            </a:r>
            <a:endParaRPr lang="ru-RU" sz="1600" b="1" dirty="0">
              <a:solidFill>
                <a:prstClr val="white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prstClr val="white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prstClr val="white"/>
                </a:solidFill>
              </a:rPr>
              <a:pPr/>
              <a:t>15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 </a:t>
            </a:r>
            <a:r>
              <a:rPr lang="ru-RU" sz="2400" b="1" dirty="0" smtClean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Новосибирская  область)</a:t>
            </a:r>
            <a:endParaRPr lang="ru-RU" sz="2400" b="1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prstClr val="white">
                    <a:lumMod val="65000"/>
                  </a:prst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618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12" t="35692" r="27091" b="22069"/>
          <a:stretch/>
        </p:blipFill>
        <p:spPr bwMode="auto">
          <a:xfrm>
            <a:off x="126925" y="678095"/>
            <a:ext cx="4638675" cy="2581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765599" y="1219200"/>
            <a:ext cx="7374055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федра гуманитарного образования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ИПКиПРО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екомендует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направить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ое содержание рабочих программ обязательных предметных областей «Родной язык и литературное чтение на родном языке»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«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одной язык и родная литература» на освоение особенностей словесности (языка и литературы) малой родины – Сибири (тексты сибирских писателей и поэтов, публицистика Сибири (журналы, газеты));</a:t>
            </a:r>
          </a:p>
          <a:p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 привлечь 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выразительного чтения, разыгрывания, пересказа, анализа языковых средств выразительности в качестве образцов сибирской словесности произведения Ю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галиф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Е. Стюарт, К. Лисовского, В. Шукшина, В. Шамова, А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алин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М. Щукина, В. Распутина, С. Самойленко, Б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огатков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. Ершова, И. Уткина, В. Астафьева, А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реснев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Т. Белозёрова, Е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уравлёв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Г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емёнов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А. Коптелова, В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ухначёв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. </a:t>
            </a:r>
            <a:r>
              <a:rPr lang="ru-RU" sz="2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тушина</a:t>
            </a:r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др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35933185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91138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79" t="17645" r="24864" b="45942"/>
          <a:stretch/>
        </p:blipFill>
        <p:spPr bwMode="auto">
          <a:xfrm>
            <a:off x="9120351" y="572466"/>
            <a:ext cx="2782614" cy="1908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62608" y="465084"/>
            <a:ext cx="8686800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НОВЫЙ ПРЕДМЕТ «РОДНАЯ ЛИТЕРАТУРА (РУССКАЯ)»</a:t>
            </a:r>
            <a:br>
              <a:rPr lang="ru-RU" b="1" dirty="0">
                <a:solidFill>
                  <a:srgbClr val="2F5597"/>
                </a:solidFill>
              </a:rPr>
            </a:br>
            <a:r>
              <a:rPr lang="ru-RU" b="1" dirty="0">
                <a:solidFill>
                  <a:srgbClr val="2F5597"/>
                </a:solidFill>
              </a:rPr>
              <a:t>ЦЕЛИ, ЗАДАЧИ, СОДЕРЖАНИЕ</a:t>
            </a:r>
          </a:p>
          <a:p>
            <a:r>
              <a:rPr lang="ru-RU" sz="1600" dirty="0"/>
              <a:t>М.А. Аристова, </a:t>
            </a:r>
            <a:r>
              <a:rPr lang="ru-RU" sz="1600" dirty="0" err="1"/>
              <a:t>к.п.н</a:t>
            </a:r>
            <a:r>
              <a:rPr lang="ru-RU" sz="1600" dirty="0"/>
              <a:t>., старший научный сотрудник лаборатории общего филологического образования ФГБНУ «Институт стратегии развития образования РАО»;</a:t>
            </a:r>
            <a:endParaRPr lang="ru-RU" sz="1600" b="1" i="1" dirty="0"/>
          </a:p>
          <a:p>
            <a:r>
              <a:rPr lang="ru-RU" sz="1600" dirty="0"/>
              <a:t>Н.В. Беляева, </a:t>
            </a:r>
            <a:r>
              <a:rPr lang="ru-RU" sz="1600" dirty="0" err="1"/>
              <a:t>д.п.н</a:t>
            </a:r>
            <a:r>
              <a:rPr lang="ru-RU" sz="1600" dirty="0"/>
              <a:t>., ведущий научный сотрудник лаборатории общего филологического образования ФГБНУ «Институт стратегии развития образования РАО»;</a:t>
            </a:r>
            <a:endParaRPr lang="ru-RU" sz="1600" b="1" i="1" dirty="0"/>
          </a:p>
          <a:p>
            <a:r>
              <a:rPr lang="ru-RU" sz="1600" dirty="0"/>
              <a:t>Ж.Н. Критарова, </a:t>
            </a:r>
            <a:r>
              <a:rPr lang="ru-RU" sz="1600" dirty="0" err="1"/>
              <a:t>к.п.н</a:t>
            </a:r>
            <a:r>
              <a:rPr lang="ru-RU" sz="1600" dirty="0"/>
              <a:t>., старший научный сотрудник лаборатории общего филологического образования ФГБНУ «Институт стратегии развития образования РАО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54269" y="3296977"/>
            <a:ext cx="11177752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i="1" dirty="0">
                <a:solidFill>
                  <a:srgbClr val="2F5597"/>
                </a:solidFill>
              </a:rPr>
              <a:t>От класса к классу могут быть протянуты </a:t>
            </a:r>
            <a:r>
              <a:rPr lang="ru-RU" b="1" i="1" dirty="0">
                <a:solidFill>
                  <a:srgbClr val="2F5597"/>
                </a:solidFill>
              </a:rPr>
              <a:t>сквозные содержательные линии</a:t>
            </a:r>
            <a:r>
              <a:rPr lang="ru-RU" i="1" dirty="0">
                <a:solidFill>
                  <a:srgbClr val="2F5597"/>
                </a:solidFill>
              </a:rPr>
              <a:t>, выделены темы, связанные с национальной спецификой русских традиций, быта и нравов, и </a:t>
            </a:r>
            <a:r>
              <a:rPr lang="ru-RU" b="1" i="1" dirty="0">
                <a:solidFill>
                  <a:srgbClr val="2F5597"/>
                </a:solidFill>
              </a:rPr>
              <a:t>ключевые слова</a:t>
            </a:r>
            <a:r>
              <a:rPr lang="ru-RU" i="1" dirty="0">
                <a:solidFill>
                  <a:srgbClr val="2F5597"/>
                </a:solidFill>
              </a:rPr>
              <a:t>, которые показывают важные для национального сознания ценностные понятия, проявляющиеся в культурном пространстве на протяжении длительного времени - вплоть до наших дней.</a:t>
            </a:r>
          </a:p>
          <a:p>
            <a:r>
              <a:rPr lang="ru-RU" i="1" dirty="0">
                <a:solidFill>
                  <a:srgbClr val="2F5597"/>
                </a:solidFill>
              </a:rPr>
              <a:t>Ключевые слова, отражающие культурные понятия, формирующие ценностное поле русской литературы, объединяют произведения в сквозные линии (например, родные просторы - русский лес - берёза). </a:t>
            </a:r>
            <a:r>
              <a:rPr lang="ru-RU" b="1" i="1" dirty="0" err="1">
                <a:solidFill>
                  <a:srgbClr val="2F5597"/>
                </a:solidFill>
              </a:rPr>
              <a:t>Подтемы</a:t>
            </a:r>
            <a:r>
              <a:rPr lang="ru-RU" b="1" i="1" dirty="0">
                <a:solidFill>
                  <a:srgbClr val="2F5597"/>
                </a:solidFill>
              </a:rPr>
              <a:t> проблемно-тематических блоков </a:t>
            </a:r>
            <a:r>
              <a:rPr lang="ru-RU" i="1" dirty="0">
                <a:solidFill>
                  <a:srgbClr val="2F5597"/>
                </a:solidFill>
              </a:rPr>
              <a:t>могут быть связаны с национально-культурной спецификой русских традиций, быта и нравов (например, национальные праздники - Масленица - блины), а также с произведениями, раскрывающими основные черты русского национального характера и загадки русской души (например, русский характер - защитники Родины - поэты, павшие на Великой Отечественной войне), с проблемами взросления подростков, сохранения и развития русского языка и т. п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190109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76144" y="313104"/>
            <a:ext cx="107607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одная литература (русская)»</a:t>
            </a:r>
          </a:p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курса и учебных пособий для основной  школ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76144" y="1529255"/>
            <a:ext cx="4169732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грамма учебного предмета «Родная литература (русская)» для 5–9 классов основной школы </a:t>
            </a:r>
          </a:p>
          <a:p>
            <a:pPr marL="285750" indent="-285750">
              <a:buFontTx/>
              <a:buChar char="-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четание  проблемно-тематического, концентрического и хронологического принципов; </a:t>
            </a:r>
          </a:p>
          <a:p>
            <a:pPr marL="285750" indent="-285750">
              <a:buFontTx/>
              <a:buChar char="-"/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 программы для каждого класса включает произведения фольклора, русской классики и современной литературы, актуализирующие вечные проблемы и ценности (добро и зло, природа и человек, дом и семья, сострадание и жестокость, великодушие и милосердие, нравственный выбор человека и др.). </a:t>
            </a: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63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237792" y="1510210"/>
            <a:ext cx="6687541" cy="5847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В соответствии с указанными общими принципами формирования содержания курса «Родная литература (русская)» в программе выделяются три содержательные линии (три проблемно-тематических блока): </a:t>
            </a:r>
          </a:p>
          <a:p>
            <a:r>
              <a:rPr lang="ru-RU" sz="2000" dirty="0"/>
              <a:t>•	«Россия – родина моя»; </a:t>
            </a:r>
          </a:p>
          <a:p>
            <a:r>
              <a:rPr lang="ru-RU" sz="2000" dirty="0"/>
              <a:t>•	«Русские традиции»; </a:t>
            </a:r>
          </a:p>
          <a:p>
            <a:r>
              <a:rPr lang="ru-RU" sz="2000" dirty="0"/>
              <a:t>•	«Русский характер – русская душа».</a:t>
            </a:r>
          </a:p>
          <a:p>
            <a:pPr algn="ctr"/>
            <a:r>
              <a:rPr lang="ru-RU" sz="2400" dirty="0">
                <a:solidFill>
                  <a:srgbClr val="2F5597"/>
                </a:solidFill>
              </a:rPr>
              <a:t>РАЗДЕЛ 1. РОССИЯ – РОДИНА МОЯ</a:t>
            </a:r>
          </a:p>
          <a:p>
            <a:r>
              <a:rPr lang="ru-RU" sz="2400" b="1" dirty="0">
                <a:solidFill>
                  <a:srgbClr val="2F5597"/>
                </a:solidFill>
              </a:rPr>
              <a:t>Преданья старины глубокой</a:t>
            </a:r>
          </a:p>
          <a:p>
            <a:r>
              <a:rPr lang="ru-RU" sz="2400" i="1" dirty="0">
                <a:solidFill>
                  <a:srgbClr val="2F5597"/>
                </a:solidFill>
              </a:rPr>
              <a:t>5 класс: Пословицы и поговорки о Родине, России, русском народе. Русские народные и литературные сказки </a:t>
            </a:r>
          </a:p>
          <a:p>
            <a:r>
              <a:rPr lang="ru-RU" sz="2400" i="1" dirty="0">
                <a:solidFill>
                  <a:srgbClr val="2F5597"/>
                </a:solidFill>
              </a:rPr>
              <a:t>9 класс: Отечественная война 1812 года в русском фольклоре и литературе</a:t>
            </a:r>
          </a:p>
          <a:p>
            <a:endParaRPr lang="ru-RU" sz="2400" dirty="0"/>
          </a:p>
          <a:p>
            <a:endParaRPr lang="ru-RU" sz="2400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3894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76144" y="313104"/>
            <a:ext cx="1076070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Родная литература (русская)»</a:t>
            </a:r>
          </a:p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курса и учебных пособий для основной  школ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35577" y="2081903"/>
            <a:ext cx="3658697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кст</a:t>
            </a: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рифт: </a:t>
            </a:r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pen Sans Light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(14)</a:t>
            </a: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3975" y="1597445"/>
            <a:ext cx="2089587" cy="288374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5863" y="1493569"/>
            <a:ext cx="3244639" cy="437754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02381" y="3887266"/>
            <a:ext cx="2457526" cy="2614556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55791" y="1493570"/>
            <a:ext cx="2273341" cy="3091494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11" name="Прямоугольник 10"/>
          <p:cNvSpPr/>
          <p:nvPr/>
        </p:nvSpPr>
        <p:spPr>
          <a:xfrm>
            <a:off x="5144476" y="4685940"/>
            <a:ext cx="588217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ельные линии курса родной русской литера­туры акцентируют внимание на ценностных категориях, актуальных как для исторического прошлого, так и для наших дней. Они представлены в таких тематических блоках, как, например, «Тепло родного дома» и  «Загадки русской души», куда включаются не только произведения русской классики, но и более близкие и понятные детям книги современных авторов</a:t>
            </a:r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63" name="Picture 1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9832012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15204" y="604351"/>
            <a:ext cx="95181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алогический контекст курса русской родной литературы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357279" y="1380842"/>
            <a:ext cx="4604899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урс дает возможность выявления </a:t>
            </a:r>
          </a:p>
          <a:p>
            <a:r>
              <a:rPr lang="ru-RU" sz="16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иа­логического контекста 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шлого и современного, русской и других национальных культур. </a:t>
            </a:r>
          </a:p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ждая содержательная линия предусматривает такой вариативный компонент со­держания курса родной русской литературы, который пред­полагает </a:t>
            </a:r>
            <a:r>
              <a:rPr lang="ru-RU" sz="16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ращение к литературе народов России и мира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обладающей высоким ценностным потенциалом, и </a:t>
            </a:r>
            <a:r>
              <a:rPr lang="ru-RU" sz="16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изве­дениям молодых современных авторов  из разных регионов многонациональной России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если их творчество является «визитной карточкой» литературы региона.</a:t>
            </a:r>
          </a:p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тдельные тематические блоки содержания могут быть введены литературные произведения, которые включают в круг национально-специфических явлений образы и моти­вы, отраженные средствами живописи, музыки, кино, театра, что позволяет актуализировать </a:t>
            </a:r>
            <a:r>
              <a:rPr lang="ru-RU" sz="16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иалог искусств 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русской культуре. </a:t>
            </a:r>
          </a:p>
          <a:p>
            <a:endParaRPr lang="ru-RU" sz="16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62178" y="1380842"/>
            <a:ext cx="3182139" cy="4317973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36334" y="2441864"/>
            <a:ext cx="2994135" cy="3951936"/>
          </a:xfrm>
          <a:prstGeom prst="rect">
            <a:avLst/>
          </a:prstGeom>
          <a:ln>
            <a:solidFill>
              <a:schemeClr val="accent1">
                <a:lumMod val="75000"/>
              </a:schemeClr>
            </a:solidFill>
          </a:ln>
        </p:spPr>
      </p:pic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27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35002094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7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6207154" y="996726"/>
            <a:ext cx="5000367" cy="5836745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357793" y="633480"/>
            <a:ext cx="4849728" cy="55707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r>
              <a:rPr lang="ru-RU" sz="2000" b="1" dirty="0"/>
              <a:t>НОРМАТИВНАЯ ОСНОВА КУРС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едеральный закон от 29 декабря 2012 г. № 273-ФЗ «Об образовании в Российской Федерации»; 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Федеральный закон от 3 августа 2018 г. № 317-ФЗ «О внесении из­менений в статьи 11 и 14 Федерального закона «Об об­разовании                в Российской Федерации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bg1"/>
                </a:solidFill>
              </a:rPr>
              <a:t>Федеральный закон от 31.07.2020 N 304-ФЗ "О внесении изменений в Федеральный закон «Об образовании в Российской Федерации" по вопросам воспитания обучающихся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 приказ Министерства образования и науки Российской Федерации  от 17 дека­бря 2010 г. № 1897 «Об утверждении федерального                                госу­дарственного образовательного стандарта основного общего образования»     (в редакции приказа  </a:t>
            </a:r>
            <a:r>
              <a:rPr lang="ru-RU" dirty="0" err="1"/>
              <a:t>Минобрнауки</a:t>
            </a:r>
            <a:r>
              <a:rPr lang="ru-RU" dirty="0"/>
              <a:t> России            от 31 декабря 2015 г. № 1577).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2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95894" y="1847020"/>
            <a:ext cx="5588900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… общероссийская гражданская идентичность основана на сохранении русской культурной доминанты, присущей всем народам, населяющим РФ. Современное российское общество объединяет единый культурный код, который ос­нован на сохранении и развитии русской культуры и языка, исторического и культурного наследия всех народов РФ и в котором заключены такие основополагающие общече­ловеческие принципы, как уважение самобытных традиций народов, населяющих РФ, и интегрирование их лучших достижений в единую российскую культуру.»</a:t>
            </a:r>
          </a:p>
          <a:p>
            <a:endParaRPr lang="ru-RU" dirty="0">
              <a:solidFill>
                <a:srgbClr val="000000"/>
              </a:solidFill>
              <a:latin typeface="Times New Roman" panose="02020603050405020304" pitchFamily="18" charset="0"/>
              <a:ea typeface="Microsoft Sans Serif" panose="020B0604020202020204" pitchFamily="34" charset="0"/>
            </a:endParaRPr>
          </a:p>
          <a:p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каз Президента РФ от б дека­бря 2018 г. № 703 «О внесении изменений в Стратегию государственной национальной политики РФ на период до 2025 года, утвержденную Указом Президента РФ от 19 декабря 2012 г. № 1666 (п. 11.1)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Цель введения курса «Родная литература (русская)»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5893" y="831357"/>
            <a:ext cx="58392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сновной целью курса является  сохранение русского языка, литературы и культуры как способа обеспечения национальной безопасности страны.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84786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84786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58315" y="832748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81950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96876" y="627444"/>
            <a:ext cx="96491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МК «Родная русская литература». Учебное пособие для 5 класса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2721" y="2628050"/>
            <a:ext cx="2807468" cy="3807390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0004" y="1473853"/>
            <a:ext cx="3034409" cy="4024069"/>
          </a:xfrm>
          <a:prstGeom prst="rect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86938" y="1369513"/>
            <a:ext cx="3277431" cy="4480652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24098" y="2659828"/>
            <a:ext cx="2935303" cy="3932050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32" name="Picture 1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35385857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=""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/>
              <a:t>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16051" y="327362"/>
            <a:ext cx="102020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МК «Родная русская литература».</a:t>
            </a:r>
          </a:p>
          <a:p>
            <a:r>
              <a:rPr lang="ru-RU" sz="2400" b="1" spc="-40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ая система рубрик учебных пособий </a:t>
            </a: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5-9 классов</a:t>
            </a:r>
            <a:endParaRPr lang="ru-RU" sz="2400" b="1" spc="-40" dirty="0">
              <a:solidFill>
                <a:srgbClr val="0070C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9578" y="3819140"/>
            <a:ext cx="4575756" cy="194430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06987" y="4430036"/>
            <a:ext cx="4138334" cy="161546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28062" y="1454724"/>
            <a:ext cx="2398034" cy="222159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9578" y="1541075"/>
            <a:ext cx="4138484" cy="2048889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319966" y="1346191"/>
            <a:ext cx="4050710" cy="2903009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33" name="Picture 1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13487566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54967" y="408729"/>
            <a:ext cx="80630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ы взаимосвязи рубрик (9 класс)</a:t>
            </a:r>
            <a:endParaRPr lang="ru-RU" sz="3200" b="1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6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083268" y="2017985"/>
            <a:ext cx="4453759" cy="369331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 err="1"/>
              <a:t>А.С.Пушкин</a:t>
            </a:r>
            <a:r>
              <a:rPr lang="ru-RU" dirty="0"/>
              <a:t>, «Полководец»</a:t>
            </a:r>
          </a:p>
          <a:p>
            <a:r>
              <a:rPr lang="ru-RU" dirty="0"/>
              <a:t>…О вождь несчастливый!... Суров был жребий твой:</a:t>
            </a:r>
          </a:p>
          <a:p>
            <a:r>
              <a:rPr lang="ru-RU" dirty="0"/>
              <a:t>Всё в жертву ты принёс земле тебе чужой.</a:t>
            </a:r>
          </a:p>
          <a:p>
            <a:r>
              <a:rPr lang="ru-RU" dirty="0"/>
              <a:t>Непроницаемый для взгляда черни дикой,</a:t>
            </a:r>
          </a:p>
          <a:p>
            <a:r>
              <a:rPr lang="ru-RU" dirty="0"/>
              <a:t>В </a:t>
            </a:r>
            <a:r>
              <a:rPr lang="ru-RU" dirty="0" err="1"/>
              <a:t>молчаньи</a:t>
            </a:r>
            <a:r>
              <a:rPr lang="ru-RU" dirty="0"/>
              <a:t> </a:t>
            </a:r>
            <a:r>
              <a:rPr lang="ru-RU" dirty="0" err="1"/>
              <a:t>шел</a:t>
            </a:r>
            <a:r>
              <a:rPr lang="ru-RU" dirty="0"/>
              <a:t> один ты с </a:t>
            </a:r>
            <a:r>
              <a:rPr lang="ru-RU" dirty="0" err="1"/>
              <a:t>мыслию</a:t>
            </a:r>
            <a:r>
              <a:rPr lang="ru-RU" dirty="0"/>
              <a:t> великой,</a:t>
            </a:r>
          </a:p>
          <a:p>
            <a:r>
              <a:rPr lang="ru-RU" dirty="0"/>
              <a:t>И в имени </a:t>
            </a:r>
            <a:r>
              <a:rPr lang="ru-RU" dirty="0" err="1"/>
              <a:t>твоем</a:t>
            </a:r>
            <a:r>
              <a:rPr lang="ru-RU" dirty="0"/>
              <a:t> звук чуждый не </a:t>
            </a:r>
            <a:r>
              <a:rPr lang="ru-RU" dirty="0" err="1"/>
              <a:t>взлюбя</a:t>
            </a:r>
            <a:r>
              <a:rPr lang="ru-RU" dirty="0"/>
              <a:t>,</a:t>
            </a:r>
          </a:p>
          <a:p>
            <a:r>
              <a:rPr lang="ru-RU" dirty="0"/>
              <a:t>Своими криками преследуя тебя,</a:t>
            </a:r>
          </a:p>
          <a:p>
            <a:r>
              <a:rPr lang="ru-RU" dirty="0"/>
              <a:t>Народ, таинственно спасаемый тобою,</a:t>
            </a:r>
          </a:p>
          <a:p>
            <a:r>
              <a:rPr lang="ru-RU" dirty="0"/>
              <a:t>Ругался над твоей священной сединою.</a:t>
            </a:r>
          </a:p>
          <a:p>
            <a:r>
              <a:rPr lang="ru-RU" dirty="0"/>
              <a:t>И тот, чей острый ум тебя и постигал,</a:t>
            </a:r>
          </a:p>
          <a:p>
            <a:r>
              <a:rPr lang="ru-RU" dirty="0"/>
              <a:t>В угоду им тебя лукаво порицал...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54967" y="2128344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Историко-культурный комментарий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54967" y="4382815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rgbClr val="2F5597"/>
                </a:solidFill>
              </a:rPr>
              <a:t>Из первых уст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759007" y="2017986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Литературные имена России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827021" y="4275083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Диалог искусств</a:t>
            </a:r>
          </a:p>
        </p:txBody>
      </p:sp>
    </p:spTree>
    <p:extLst>
      <p:ext uri="{BB962C8B-B14F-4D97-AF65-F5344CB8AC3E}">
        <p14:creationId xmlns:p14="http://schemas.microsoft.com/office/powerpoint/2010/main" val="4273740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6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54967" y="408729"/>
            <a:ext cx="80630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й предмет </a:t>
            </a:r>
          </a:p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Литературное чтение на родном (русском) языке»</a:t>
            </a:r>
            <a:endParaRPr lang="ru-RU" sz="3200" b="1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78637" y="1515281"/>
            <a:ext cx="5263835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соответствии с требованиями ФГОС НОО к результатам освоения основной образовательной программы по учебному предмету «Литературное чтение на родном языке» курс формирует следующее  понимание родной литературы как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одной из основных национально-культурных ценностей народа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особого способа познания жизни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явления национальной и мировой культуры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едства сохранения и передачи нравственных ценностей и традиций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едства формирования представлений о мире, национальной истории и культуре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едства воспитания потребности в систематическом чтении на родном языке для обеспечения культурной самоидентификации. </a:t>
            </a:r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3</a:t>
            </a:fld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75813" y="1515281"/>
            <a:ext cx="3530345" cy="4841069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6" name="Picture 1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7143677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409190" y="408729"/>
            <a:ext cx="902219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Литературное чтение на родном (русском) языке»</a:t>
            </a:r>
          </a:p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«Литературное чтение»: связь учебных предметов</a:t>
            </a:r>
          </a:p>
        </p:txBody>
      </p: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4</a:t>
            </a:fld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29701" y="2920300"/>
            <a:ext cx="2463029" cy="3126404"/>
          </a:xfrm>
          <a:prstGeom prst="rect">
            <a:avLst/>
          </a:prstGeom>
          <a:ln>
            <a:solidFill>
              <a:srgbClr val="D64214"/>
            </a:solidFill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3327" y="1515452"/>
            <a:ext cx="2908776" cy="3988728"/>
          </a:xfrm>
          <a:prstGeom prst="rect">
            <a:avLst/>
          </a:prstGeom>
          <a:ln>
            <a:solidFill>
              <a:srgbClr val="FF0000"/>
            </a:solidFill>
          </a:ln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888056" y="2927407"/>
            <a:ext cx="4586464" cy="3112190"/>
          </a:xfrm>
          <a:prstGeom prst="rect">
            <a:avLst/>
          </a:prstGeom>
          <a:ln>
            <a:solidFill>
              <a:srgbClr val="D64214"/>
            </a:solidFill>
          </a:ln>
        </p:spPr>
      </p:pic>
      <p:sp>
        <p:nvSpPr>
          <p:cNvPr id="12" name="Прямоугольник 11"/>
          <p:cNvSpPr/>
          <p:nvPr/>
        </p:nvSpPr>
        <p:spPr>
          <a:xfrm>
            <a:off x="3329702" y="1521487"/>
            <a:ext cx="76810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урс «Литературное чтение на русском родном языке», основанный на тех же принципах,               что и основной курс «Литературное чтение», предусматривает знакомство младших школьников с произведениями русской литературы, в которых наиболее ярко отражены духовные основы русской культуры, русский национальный характер, обычаи, традиции русского народа.</a:t>
            </a:r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61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20659203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1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87036" y="558194"/>
            <a:ext cx="1123399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ебные предметы «Литературное чтение </a:t>
            </a:r>
          </a:p>
          <a:p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родном (русском)  языке» и «Родной язык (русский )»: общие принципы</a:t>
            </a:r>
          </a:p>
        </p:txBody>
      </p: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1229949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22095" y="1516018"/>
            <a:ext cx="4042087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ый предмет «Литературное чтение на родном (русском) языке» </a:t>
            </a:r>
            <a:r>
              <a:rPr lang="ru-RU" sz="20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сно связан с предметом                  «Родной язык (русский)» </a:t>
            </a: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способствует обогащению речи школьников, развитию их речевой культуры и коммуникативной компетенции. </a:t>
            </a:r>
          </a:p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а курса объединяет                      </a:t>
            </a:r>
            <a:r>
              <a:rPr lang="ru-RU" sz="20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ультурно-исторический  подход                                       к представлению дидактического материала</a:t>
            </a: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на основе которого выстраиваются проблемно-тематические блоки, отраженные                в структуре учебных пособий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09234" y="1516018"/>
            <a:ext cx="3145427" cy="2943645"/>
          </a:xfrm>
          <a:prstGeom prst="rect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79594" y="3210791"/>
            <a:ext cx="4700781" cy="3065298"/>
          </a:xfrm>
          <a:prstGeom prst="rect">
            <a:avLst/>
          </a:prstGeom>
          <a:ln>
            <a:solidFill>
              <a:srgbClr val="D64214"/>
            </a:solidFill>
          </a:ln>
        </p:spPr>
      </p:pic>
      <p:sp>
        <p:nvSpPr>
          <p:cNvPr id="59" name="Прямоугольник 5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61" name="Picture 1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Box 61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130519346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597" t="24187" r="17120" b="52263"/>
          <a:stretch/>
        </p:blipFill>
        <p:spPr bwMode="auto">
          <a:xfrm>
            <a:off x="181303" y="268013"/>
            <a:ext cx="5621862" cy="2380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6</a:t>
            </a:fld>
            <a:endParaRPr lang="ru-RU" dirty="0"/>
          </a:p>
        </p:txBody>
      </p:sp>
      <p:pic>
        <p:nvPicPr>
          <p:cNvPr id="9216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16" t="53643" r="52021" b="27065"/>
          <a:stretch/>
        </p:blipFill>
        <p:spPr bwMode="auto">
          <a:xfrm>
            <a:off x="386254" y="3133395"/>
            <a:ext cx="5645019" cy="194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4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85" t="54253" r="13939" b="20729"/>
          <a:stretch/>
        </p:blipFill>
        <p:spPr bwMode="auto">
          <a:xfrm>
            <a:off x="6207589" y="1163984"/>
            <a:ext cx="5992024" cy="24673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456941" y="4106916"/>
            <a:ext cx="549332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«Диалог культур»</a:t>
            </a:r>
          </a:p>
          <a:p>
            <a:r>
              <a:rPr lang="ru-RU" dirty="0"/>
              <a:t>Какими предстают родина и чужбина в пословицах и поговорках разных народов? Что общего у них с русскими пословицами и поговорками, а в чём различие?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58539" y="5395748"/>
            <a:ext cx="84450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Проект:</a:t>
            </a:r>
          </a:p>
          <a:p>
            <a:r>
              <a:rPr lang="ru-RU" dirty="0"/>
              <a:t>Составьте сборник пословиц и поговорок о Москве. Объясните их значение, подберите к ним примеры из стихотворений русских поэтов. По желанию нарисуйте или подберите иллюстрации.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850117" y="215065"/>
            <a:ext cx="50213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2F559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вые уроки в 5 классе</a:t>
            </a:r>
          </a:p>
        </p:txBody>
      </p:sp>
    </p:spTree>
    <p:extLst>
      <p:ext uri="{BB962C8B-B14F-4D97-AF65-F5344CB8AC3E}">
        <p14:creationId xmlns:p14="http://schemas.microsoft.com/office/powerpoint/2010/main" val="44672299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7</a:t>
            </a:fld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6755524" y="88941"/>
            <a:ext cx="50213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2F5597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вые уроки в 9 классе</a:t>
            </a: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220717" y="599090"/>
            <a:ext cx="11414235" cy="5849007"/>
          </a:xfrm>
        </p:spPr>
        <p:txBody>
          <a:bodyPr>
            <a:normAutofit/>
          </a:bodyPr>
          <a:lstStyle/>
          <a:p>
            <a:r>
              <a:rPr lang="ru-RU" sz="2400" dirty="0"/>
              <a:t>Вспомните, какие произведения русских писателей об Отечественной войне 1812 года вы читали? Что вам в них особенно запомнилось?</a:t>
            </a:r>
          </a:p>
          <a:p>
            <a:r>
              <a:rPr lang="ru-RU" sz="2400" dirty="0"/>
              <a:t>Прочитайте русскую народную историческую песню и стихотворения В.А. Жуковского и А.С. Пушкина о войне 1812 года и подумайте, какая мысль объединяет столь разные произведения? </a:t>
            </a:r>
          </a:p>
          <a:p>
            <a:r>
              <a:rPr lang="ru-RU" sz="2400" dirty="0"/>
              <a:t>Рассмотрите рисунок-карикатуру, выполненную художником И.И. </a:t>
            </a:r>
            <a:r>
              <a:rPr lang="ru-RU" sz="2400" dirty="0" err="1"/>
              <a:t>Теребенёвым</a:t>
            </a:r>
            <a:r>
              <a:rPr lang="ru-RU" sz="2400" dirty="0"/>
              <a:t> – автором популярной серии из 43 гравюр, высмеивавших Наполеона и его армию (так называемые «</a:t>
            </a:r>
            <a:r>
              <a:rPr lang="ru-RU" sz="2400" dirty="0" err="1"/>
              <a:t>Теребенёвские</a:t>
            </a:r>
            <a:r>
              <a:rPr lang="ru-RU" sz="2400" dirty="0"/>
              <a:t> листы»). Обратите внимание на подпись к рисунку, стилизованную под народную речь. Как вы считаете, соответствует ли эта карикатура и подпись к ней по настроению и смыслу народной песне </a:t>
            </a:r>
            <a:r>
              <a:rPr lang="ru-RU" sz="2400" i="1" dirty="0"/>
              <a:t>«Как не две </a:t>
            </a:r>
            <a:r>
              <a:rPr lang="ru-RU" sz="2400" i="1" dirty="0" err="1"/>
              <a:t>тученьки</a:t>
            </a:r>
            <a:r>
              <a:rPr lang="ru-RU" sz="2400" i="1" dirty="0"/>
              <a:t> не две </a:t>
            </a:r>
            <a:r>
              <a:rPr lang="ru-RU" sz="2400" i="1" dirty="0" err="1"/>
              <a:t>грозныя</a:t>
            </a:r>
            <a:r>
              <a:rPr lang="ru-RU" sz="2400" i="1" dirty="0"/>
              <a:t>…»</a:t>
            </a:r>
            <a:r>
              <a:rPr lang="ru-RU" sz="2400" dirty="0"/>
              <a:t>? Докажите свою позицию.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800" i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800" i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sz="1800" i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i="1" dirty="0" err="1"/>
              <a:t>Наполеонова</a:t>
            </a:r>
            <a:r>
              <a:rPr lang="ru-RU" sz="1800" i="1" dirty="0"/>
              <a:t> пляска. Карикатура. Худ. И.И. </a:t>
            </a:r>
            <a:r>
              <a:rPr lang="ru-RU" sz="1800" i="1" dirty="0" err="1"/>
              <a:t>Теребенёв</a:t>
            </a:r>
            <a:r>
              <a:rPr lang="ru-RU" sz="1800" i="1" dirty="0"/>
              <a:t>. 1813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i="1" dirty="0"/>
              <a:t>Подпись: «Не удалось тебе нас переладить на свою погудку: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i="1" dirty="0"/>
              <a:t>Попляши же, басурман, под нашу дудку!»</a:t>
            </a:r>
          </a:p>
          <a:p>
            <a:pPr algn="r">
              <a:spcBef>
                <a:spcPts val="0"/>
              </a:spcBef>
            </a:pPr>
            <a:endParaRPr lang="ru-RU" sz="2000" dirty="0"/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2889" y="4210291"/>
            <a:ext cx="3075521" cy="24995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094764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8145" y="543910"/>
            <a:ext cx="10825655" cy="563305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dirty="0"/>
              <a:t>Чтение стихотворения В.А. Жуковского «Певец во стане русских воинов» </a:t>
            </a:r>
          </a:p>
          <a:p>
            <a:r>
              <a:rPr lang="ru-RU" dirty="0"/>
              <a:t>Обратите внимание на особенность построения стихотворения: в нем на призывы Певца отвечают Воины. Как вы можете охарактеризовать образ Певца? Как вы думаете, в чем заключается смысл собирательного образа Воинов?  </a:t>
            </a:r>
          </a:p>
          <a:p>
            <a:r>
              <a:rPr lang="ru-RU" dirty="0"/>
              <a:t>Каким предстаёт в стихотворении Жуковского образ вождя? Назовите его имя и кратко расскажите о нем. В каких ещё произведениях русских писателей нарисован образ этого полководца? Что в них общего, а в чем они отличаются?</a:t>
            </a:r>
          </a:p>
          <a:p>
            <a:r>
              <a:rPr lang="ru-RU" dirty="0"/>
              <a:t>Для более полного ответа на этот вопрос учащиеся могут обратиться к </a:t>
            </a:r>
            <a:r>
              <a:rPr lang="ru-RU" b="1" dirty="0"/>
              <a:t>историко-культурному комментарию</a:t>
            </a:r>
            <a:r>
              <a:rPr lang="ru-RU" dirty="0"/>
              <a:t>, который дан в специальной рубрике учебника. Это поможет не только уточнить понимание текста произведения, но и расширит представления учеников о его историческом контексте.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179699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54967" y="408729"/>
            <a:ext cx="80630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рвые уроки в 9 классе</a:t>
            </a:r>
            <a:endParaRPr lang="ru-RU" sz="3200" b="1" dirty="0">
              <a:solidFill>
                <a:schemeClr val="accent5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418181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9</a:t>
            </a:fld>
            <a:endParaRPr lang="ru-RU" dirty="0"/>
          </a:p>
        </p:txBody>
      </p:sp>
      <p:sp>
        <p:nvSpPr>
          <p:cNvPr id="39" name="Прямоугольник 3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6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083268" y="2017985"/>
            <a:ext cx="4453759" cy="3693319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dirty="0" err="1"/>
              <a:t>А.С.Пушкин</a:t>
            </a:r>
            <a:r>
              <a:rPr lang="ru-RU" dirty="0"/>
              <a:t>, «Полководец»</a:t>
            </a:r>
          </a:p>
          <a:p>
            <a:r>
              <a:rPr lang="ru-RU" dirty="0"/>
              <a:t>…О вождь несчастливый!... Суров был жребий твой:</a:t>
            </a:r>
          </a:p>
          <a:p>
            <a:r>
              <a:rPr lang="ru-RU" dirty="0"/>
              <a:t>Всё в жертву ты принёс земле тебе чужой.</a:t>
            </a:r>
          </a:p>
          <a:p>
            <a:r>
              <a:rPr lang="ru-RU" dirty="0"/>
              <a:t>Непроницаемый для взгляда черни дикой,</a:t>
            </a:r>
          </a:p>
          <a:p>
            <a:r>
              <a:rPr lang="ru-RU" dirty="0"/>
              <a:t>В </a:t>
            </a:r>
            <a:r>
              <a:rPr lang="ru-RU" dirty="0" err="1"/>
              <a:t>молчаньи</a:t>
            </a:r>
            <a:r>
              <a:rPr lang="ru-RU" dirty="0"/>
              <a:t> </a:t>
            </a:r>
            <a:r>
              <a:rPr lang="ru-RU" dirty="0" err="1"/>
              <a:t>шел</a:t>
            </a:r>
            <a:r>
              <a:rPr lang="ru-RU" dirty="0"/>
              <a:t> один ты с </a:t>
            </a:r>
            <a:r>
              <a:rPr lang="ru-RU" dirty="0" err="1"/>
              <a:t>мыслию</a:t>
            </a:r>
            <a:r>
              <a:rPr lang="ru-RU" dirty="0"/>
              <a:t> великой,</a:t>
            </a:r>
          </a:p>
          <a:p>
            <a:r>
              <a:rPr lang="ru-RU" dirty="0"/>
              <a:t>И в имени </a:t>
            </a:r>
            <a:r>
              <a:rPr lang="ru-RU" dirty="0" err="1"/>
              <a:t>твоем</a:t>
            </a:r>
            <a:r>
              <a:rPr lang="ru-RU" dirty="0"/>
              <a:t> звук чуждый не </a:t>
            </a:r>
            <a:r>
              <a:rPr lang="ru-RU" dirty="0" err="1"/>
              <a:t>взлюбя</a:t>
            </a:r>
            <a:r>
              <a:rPr lang="ru-RU" dirty="0"/>
              <a:t>,</a:t>
            </a:r>
          </a:p>
          <a:p>
            <a:r>
              <a:rPr lang="ru-RU" dirty="0"/>
              <a:t>Своими криками преследуя тебя,</a:t>
            </a:r>
          </a:p>
          <a:p>
            <a:r>
              <a:rPr lang="ru-RU" dirty="0"/>
              <a:t>Народ, таинственно спасаемый тобою,</a:t>
            </a:r>
          </a:p>
          <a:p>
            <a:r>
              <a:rPr lang="ru-RU" dirty="0"/>
              <a:t>Ругался над твоей священной сединою.</a:t>
            </a:r>
          </a:p>
          <a:p>
            <a:r>
              <a:rPr lang="ru-RU" dirty="0"/>
              <a:t>И тот, чей острый ум тебя и постигал,</a:t>
            </a:r>
          </a:p>
          <a:p>
            <a:r>
              <a:rPr lang="ru-RU" dirty="0"/>
              <a:t>В угоду им тебя лукаво порицал...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54967" y="2128344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Историко-культурный комментарий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54967" y="4382815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rgbClr val="2F5597"/>
                </a:solidFill>
              </a:rPr>
              <a:t>Из первых уст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8759007" y="2017986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Литературные имена России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827021" y="4275083"/>
            <a:ext cx="2948152" cy="1379483"/>
          </a:xfrm>
          <a:prstGeom prst="roundRect">
            <a:avLst/>
          </a:prstGeom>
          <a:noFill/>
          <a:ln>
            <a:solidFill>
              <a:srgbClr val="2F55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2F5597"/>
                </a:solidFill>
              </a:rPr>
              <a:t>Диалог искусств</a:t>
            </a:r>
          </a:p>
        </p:txBody>
      </p:sp>
    </p:spTree>
    <p:extLst>
      <p:ext uri="{BB962C8B-B14F-4D97-AF65-F5344CB8AC3E}">
        <p14:creationId xmlns:p14="http://schemas.microsoft.com/office/powerpoint/2010/main" val="28702141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587828" y="1900232"/>
            <a:ext cx="10422892" cy="4157417"/>
          </a:xfrm>
          <a:prstGeom prst="rect">
            <a:avLst/>
          </a:prstGeom>
        </p:spPr>
        <p:txBody>
          <a:bodyPr wrap="square" lIns="94611" tIns="47306" rIns="94611" bIns="47306">
            <a:spAutoFit/>
          </a:bodyPr>
          <a:lstStyle/>
          <a:p>
            <a:pPr algn="just"/>
            <a:r>
              <a:rPr lang="ru-RU" sz="1673" dirty="0"/>
              <a:t>Приказами </a:t>
            </a:r>
            <a:r>
              <a:rPr lang="ru-RU" sz="1673" dirty="0" err="1"/>
              <a:t>Минобрнауки</a:t>
            </a:r>
            <a:r>
              <a:rPr lang="ru-RU" sz="1673" dirty="0"/>
              <a:t> России от </a:t>
            </a:r>
            <a:r>
              <a:rPr lang="ru-RU" sz="1673" b="1" dirty="0"/>
              <a:t>31 декабря 2015 г. </a:t>
            </a:r>
            <a:r>
              <a:rPr lang="ru-RU" sz="1673" dirty="0"/>
              <a:t>были</a:t>
            </a:r>
            <a:r>
              <a:rPr lang="ru-RU" sz="1673" b="1" dirty="0"/>
              <a:t> </a:t>
            </a:r>
            <a:r>
              <a:rPr lang="ru-RU" sz="1673" dirty="0"/>
              <a:t>внесены изменения в федеральные государственные  образовательные стандарты. В частности, произошло разграничение </a:t>
            </a:r>
            <a:r>
              <a:rPr lang="ru-RU" sz="1673" b="1" dirty="0"/>
              <a:t>предметной области «Филология» </a:t>
            </a:r>
            <a:r>
              <a:rPr lang="ru-RU" sz="1673" dirty="0"/>
              <a:t>на 3 предметные области:   </a:t>
            </a:r>
          </a:p>
          <a:p>
            <a:pPr algn="just"/>
            <a:r>
              <a:rPr lang="ru-RU" sz="1673" b="1" i="1" dirty="0"/>
              <a:t>            «Русский язык. Литература»,  </a:t>
            </a:r>
          </a:p>
          <a:p>
            <a:pPr algn="just"/>
            <a:r>
              <a:rPr lang="ru-RU" sz="1673" b="1" i="1" dirty="0"/>
              <a:t>            «Родной язык. Родная литература», </a:t>
            </a:r>
          </a:p>
          <a:p>
            <a:pPr algn="just"/>
            <a:r>
              <a:rPr lang="ru-RU" sz="1673" b="1" i="1" dirty="0"/>
              <a:t>             «Иностранный язык. Второй иностранный язык» </a:t>
            </a:r>
          </a:p>
          <a:p>
            <a:pPr algn="just"/>
            <a:endParaRPr lang="ru-RU" sz="1673" b="1" i="1" dirty="0"/>
          </a:p>
          <a:p>
            <a:pPr marL="265519" indent="-265519" algn="just">
              <a:buFont typeface="Wingdings" panose="05000000000000000000" pitchFamily="2" charset="2"/>
              <a:buChar char="v"/>
            </a:pPr>
            <a:r>
              <a:rPr lang="ru-RU" sz="1487" b="1" cap="all" dirty="0">
                <a:solidFill>
                  <a:srgbClr val="0070C0"/>
                </a:solidFill>
                <a:latin typeface="Myriad Pro" pitchFamily="34" charset="0"/>
                <a:ea typeface="+mj-ea"/>
                <a:cs typeface="+mj-cs"/>
              </a:rPr>
              <a:t>Родной язык и литературное чтение на родном языке</a:t>
            </a:r>
          </a:p>
          <a:p>
            <a:pPr algn="just"/>
            <a:r>
              <a:rPr lang="ru-RU" sz="1487" b="1" cap="all" dirty="0">
                <a:solidFill>
                  <a:srgbClr val="09A789"/>
                </a:solidFill>
                <a:latin typeface="Myriad Pro" pitchFamily="34" charset="0"/>
                <a:ea typeface="+mj-ea"/>
                <a:cs typeface="+mj-cs"/>
              </a:rPr>
              <a:t> </a:t>
            </a:r>
            <a:r>
              <a:rPr lang="ru-RU" sz="1673" b="1" dirty="0"/>
              <a:t>             Приказом № 1576  </a:t>
            </a:r>
            <a:r>
              <a:rPr lang="ru-RU" sz="1673" dirty="0"/>
              <a:t>во</a:t>
            </a:r>
            <a:r>
              <a:rPr lang="ru-RU" sz="1673" b="1" dirty="0"/>
              <a:t> ФГОС</a:t>
            </a:r>
            <a:r>
              <a:rPr lang="ru-RU" sz="1673" dirty="0"/>
              <a:t> </a:t>
            </a:r>
            <a:r>
              <a:rPr lang="ru-RU" sz="1673" b="1" dirty="0"/>
              <a:t>НОО </a:t>
            </a:r>
            <a:r>
              <a:rPr lang="ru-RU" sz="1487" b="1" dirty="0"/>
              <a:t>(утвержденный  приказом № 373 от 6 октября 2009 г.) </a:t>
            </a:r>
            <a:r>
              <a:rPr lang="ru-RU" sz="1673" dirty="0"/>
              <a:t>добавлен пункт 12.2, включающий предметные результаты по родному языку и литературному чтению на родном языке.</a:t>
            </a:r>
          </a:p>
          <a:p>
            <a:pPr marL="318623" indent="-318623" algn="just">
              <a:buFont typeface="Wingdings" panose="05000000000000000000" pitchFamily="2" charset="2"/>
              <a:buChar char="v"/>
            </a:pPr>
            <a:r>
              <a:rPr lang="ru-RU" sz="1487" b="1" cap="all" dirty="0">
                <a:solidFill>
                  <a:srgbClr val="0070C0"/>
                </a:solidFill>
                <a:latin typeface="Myriad Pro" pitchFamily="34" charset="0"/>
                <a:ea typeface="+mj-ea"/>
                <a:cs typeface="+mj-cs"/>
              </a:rPr>
              <a:t> Родной язык и родная литература </a:t>
            </a:r>
          </a:p>
          <a:p>
            <a:pPr algn="just"/>
            <a:r>
              <a:rPr lang="ru-RU" sz="1673" b="1" dirty="0"/>
              <a:t>            Приказом № 1577   </a:t>
            </a:r>
            <a:r>
              <a:rPr lang="ru-RU" sz="1673" dirty="0"/>
              <a:t>во</a:t>
            </a:r>
            <a:r>
              <a:rPr lang="ru-RU" sz="1673" b="1" dirty="0"/>
              <a:t> ФГОС</a:t>
            </a:r>
            <a:r>
              <a:rPr lang="ru-RU" sz="1673" dirty="0"/>
              <a:t> </a:t>
            </a:r>
            <a:r>
              <a:rPr lang="ru-RU" sz="1673" b="1" dirty="0"/>
              <a:t>ООО</a:t>
            </a:r>
            <a:r>
              <a:rPr lang="ru-RU" sz="1673" dirty="0"/>
              <a:t> </a:t>
            </a:r>
            <a:r>
              <a:rPr lang="ru-RU" sz="1673" b="1" dirty="0"/>
              <a:t>(</a:t>
            </a:r>
            <a:r>
              <a:rPr lang="ru-RU" sz="1487" b="1" dirty="0"/>
              <a:t>утвержденный  приказом № 1897 от 17 декабря 2010 г.)</a:t>
            </a:r>
            <a:r>
              <a:rPr lang="ru-RU" sz="1673" b="1" dirty="0"/>
              <a:t> </a:t>
            </a:r>
            <a:r>
              <a:rPr lang="ru-RU" sz="1673" dirty="0"/>
              <a:t>добавлен пункт 11.2, включающий предметные результаты по родному языку и родной литературе.</a:t>
            </a:r>
          </a:p>
          <a:p>
            <a:pPr algn="just"/>
            <a:r>
              <a:rPr lang="ru-RU" sz="1673" b="1" dirty="0"/>
              <a:t>             Приказом № 1578 </a:t>
            </a:r>
            <a:r>
              <a:rPr lang="ru-RU" sz="1673" dirty="0"/>
              <a:t>во</a:t>
            </a:r>
            <a:r>
              <a:rPr lang="ru-RU" sz="1673" b="1" dirty="0"/>
              <a:t> ФГОС СОО</a:t>
            </a:r>
            <a:r>
              <a:rPr lang="ru-RU" sz="1673" dirty="0"/>
              <a:t> </a:t>
            </a:r>
            <a:r>
              <a:rPr lang="ru-RU" sz="1673" b="1" dirty="0"/>
              <a:t>(</a:t>
            </a:r>
            <a:r>
              <a:rPr lang="ru-RU" sz="1487" b="1" dirty="0"/>
              <a:t>утвержденный  приказом № 413 от 17 мая 2012 г.) </a:t>
            </a:r>
            <a:r>
              <a:rPr lang="ru-RU" sz="1673" dirty="0"/>
              <a:t>добавлен пункт 9.2, включающий предметные результаты по родному языку и родной литературе на базовом и углубленном уровнях.</a:t>
            </a:r>
            <a:endParaRPr lang="ru-RU" sz="1673" b="1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65487" y="742861"/>
            <a:ext cx="8945045" cy="36933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едметная область «Родной язык и родная литература»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534750" y="4434653"/>
            <a:ext cx="5548126" cy="2639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15" dirty="0"/>
              <a:t> 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598621" y="981039"/>
            <a:ext cx="1823823" cy="2496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45C47"/>
              </a:buClr>
              <a:buSzPct val="120000"/>
            </a:pPr>
            <a:endParaRPr lang="en-US" sz="1022" b="1" dirty="0">
              <a:latin typeface="Myriad Pro" pitchFamily="34" charset="0"/>
            </a:endParaRP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31" name="Picture 1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26026" y="1444336"/>
            <a:ext cx="10584693" cy="2031325"/>
          </a:xfrm>
          <a:prstGeom prst="rect">
            <a:avLst/>
          </a:prstGeom>
          <a:noFill/>
          <a:ln w="28575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14180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fld id="{00000000-1234-1234-1234-123412341234}" type="slidenum">
              <a:rPr lang="en" sz="110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30</a:t>
            </a:fld>
            <a:endParaRPr lang="en" sz="1100" dirty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6953" y="472726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араметры пособий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 информация о приобретении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3200" b="1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9837769"/>
              </p:ext>
            </p:extLst>
          </p:nvPr>
        </p:nvGraphicFramePr>
        <p:xfrm>
          <a:off x="384690" y="1568738"/>
          <a:ext cx="10964254" cy="2476500"/>
        </p:xfrm>
        <a:graphic>
          <a:graphicData uri="http://schemas.openxmlformats.org/drawingml/2006/table">
            <a:tbl>
              <a:tblPr/>
              <a:tblGrid>
                <a:gridCol w="2008132">
                  <a:extLst>
                    <a:ext uri="{9D8B030D-6E8A-4147-A177-3AD203B41FA5}">
                      <a16:colId xmlns="" xmlns:a16="http://schemas.microsoft.com/office/drawing/2014/main" val="539208348"/>
                    </a:ext>
                  </a:extLst>
                </a:gridCol>
                <a:gridCol w="4648279">
                  <a:extLst>
                    <a:ext uri="{9D8B030D-6E8A-4147-A177-3AD203B41FA5}">
                      <a16:colId xmlns="" xmlns:a16="http://schemas.microsoft.com/office/drawing/2014/main" val="2044401723"/>
                    </a:ext>
                  </a:extLst>
                </a:gridCol>
                <a:gridCol w="17561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551684">
                  <a:extLst>
                    <a:ext uri="{9D8B030D-6E8A-4147-A177-3AD203B41FA5}">
                      <a16:colId xmlns="" xmlns:a16="http://schemas.microsoft.com/office/drawing/2014/main" val="2749784155"/>
                    </a:ext>
                  </a:extLst>
                </a:gridCol>
              </a:tblGrid>
              <a:tr h="41641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вторы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Название учебника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Код</a:t>
                      </a:r>
                    </a:p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номенклатуры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Параметры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40919605"/>
                  </a:ext>
                </a:extLst>
              </a:tr>
              <a:tr h="430482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М., Кузнецова М.И., Романова В.Ю., Рябинина Л.А., Соколова О.В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Литературное чтение на родном русском языке. 1 класс. Учебное пособие для общеобразовательных организаций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06-0574-01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84х108 1/16, 1</a:t>
                      </a:r>
                      <a:r>
                        <a:rPr lang="en-US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60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с., 4 краски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5089202"/>
                  </a:ext>
                </a:extLst>
              </a:tr>
              <a:tr h="502860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М., Аристова М. А., Беляева Н. В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Добротин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И.Н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Критаров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Ж.Н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Мухаметшин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Р.Ф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одная русская литература. 5 класс. Учебное пособие  для общеобразовательных организаций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12-1248-01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84х108 1/16, 1</a:t>
                      </a:r>
                      <a:r>
                        <a:rPr lang="en-US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92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с., 4 краски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41778118"/>
                  </a:ext>
                </a:extLst>
              </a:tr>
              <a:tr h="620081">
                <a:tc>
                  <a:txBody>
                    <a:bodyPr/>
                    <a:lstStyle/>
                    <a:p>
                      <a:pPr algn="l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Александрова О.М., Аристова М. А., Беляева Н. В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Добротин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И.Н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Критаров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Ж.Н., </a:t>
                      </a:r>
                      <a:r>
                        <a:rPr lang="ru-RU" sz="1200" kern="1200" dirty="0" err="1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Мухаметшина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Р.Ф.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Родная русская литература. 9 класс. Учебное пособие  для общеобразовательных организаций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12-1252-01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84х108 1/16, 1</a:t>
                      </a:r>
                      <a:r>
                        <a:rPr lang="en-US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92</a:t>
                      </a:r>
                      <a:r>
                        <a:rPr lang="ru-RU" sz="1200" kern="1200" dirty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  <a:ea typeface="Calibri" panose="020F0502020204030204" pitchFamily="34" charset="0"/>
                          <a:cs typeface="FuturaPT-Book"/>
                        </a:rPr>
                        <a:t> с., 4 краски</a:t>
                      </a:r>
                    </a:p>
                  </a:txBody>
                  <a:tcPr marL="108000" marR="9525" marT="9525" marB="0" anchor="ctr">
                    <a:lnL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47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4413955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316194" y="4152900"/>
            <a:ext cx="1126335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zh-CN" sz="14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ое пособие ― учебное издание, дополняющее или заменяющее частично или полностью учебник, официально утверждённое в качестве данного вида издания (ГОСТ Р 7.0.3-2006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zh-CN" sz="14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АО «Издательство «Просвещение» включено в перечень организаций, осуществляющих выпуск учебных пособий (приказ Министерства образования и науки РФ № 699 от 09.06.2016 г.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altLang="zh-CN" sz="1400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Учебные пособия могут приобретаться за счёт бюджетных средств в соответствии с Федеральным законом № 273 «Об образовании в РФ» (ст. 8, 18, 28, 35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84690" y="5584357"/>
            <a:ext cx="11340139" cy="1067304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ts val="600"/>
              </a:spcBef>
              <a:spcAft>
                <a:spcPts val="800"/>
              </a:spcAft>
            </a:pPr>
            <a:r>
              <a:rPr lang="ru-RU" sz="1600" b="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По вопросам приобретения учебных пособий можно обращаться в отдел по работе с государственными заказами: руководитель Трофимова Галина Владимировна (только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оптовые закупки </a:t>
            </a:r>
            <a:r>
              <a:rPr lang="ru-RU" sz="1600" b="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пособий),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тел.: +7 (495) 789-30-40, доб. 41-44, </a:t>
            </a:r>
            <a:r>
              <a:rPr lang="en-US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e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-</a:t>
            </a:r>
            <a:r>
              <a:rPr lang="ru-RU" sz="1600" dirty="0" err="1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mail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: GTrofimova@prosv.ru,  </a:t>
            </a:r>
            <a:r>
              <a:rPr lang="ru-RU" sz="1600" b="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либо самостоятельно заказать в нашем интернет-магазине </a:t>
            </a:r>
            <a:r>
              <a:rPr lang="ru-RU" sz="1600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FuturaPT-Book"/>
              </a:rPr>
              <a:t>shop.prosv.ru </a:t>
            </a:r>
          </a:p>
        </p:txBody>
      </p:sp>
    </p:spTree>
    <p:extLst>
      <p:ext uri="{BB962C8B-B14F-4D97-AF65-F5344CB8AC3E}">
        <p14:creationId xmlns:p14="http://schemas.microsoft.com/office/powerpoint/2010/main" val="169700031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327" y="858277"/>
            <a:ext cx="9486900" cy="877005"/>
          </a:xfrm>
        </p:spPr>
        <p:txBody>
          <a:bodyPr>
            <a:normAutofit/>
          </a:bodyPr>
          <a:lstStyle/>
          <a:p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ы для педагогов на сайте                                                 Группы компаний «Просвещение» </a:t>
            </a:r>
            <a:r>
              <a:rPr lang="en-US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sv.ru</a:t>
            </a:r>
            <a:r>
              <a:rPr lang="ru-RU" sz="24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268415" y="2427885"/>
            <a:ext cx="1347316" cy="6835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>
                <a:solidFill>
                  <a:schemeClr val="bg1"/>
                </a:solidFill>
              </a:rPr>
              <a:t>Каталог 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1761080" y="2427764"/>
            <a:ext cx="1632546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>
                <a:solidFill>
                  <a:schemeClr val="bg1"/>
                </a:solidFill>
              </a:rPr>
              <a:t>Горячая линия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8861102" y="2445247"/>
            <a:ext cx="3007387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dirty="0"/>
              <a:t>Материалы для подготовки к участию в международных исследованиях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2390" y="4098119"/>
            <a:ext cx="1719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log.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56" y="3343893"/>
            <a:ext cx="473619" cy="564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800215" y="4098119"/>
            <a:ext cx="1834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pros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619" y="3206049"/>
            <a:ext cx="965192" cy="68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97"/>
          <a:stretch/>
        </p:blipFill>
        <p:spPr>
          <a:xfrm>
            <a:off x="4191836" y="3237524"/>
            <a:ext cx="910413" cy="95213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3601810" y="2427764"/>
            <a:ext cx="1973331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>
                <a:solidFill>
                  <a:schemeClr val="bg1"/>
                </a:solidFill>
              </a:rPr>
              <a:t>Рабочие программы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4178950" y="4098119"/>
            <a:ext cx="9360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93" y="4849533"/>
            <a:ext cx="1158252" cy="1158252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585119" y="6178941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pros@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787" y="4849533"/>
            <a:ext cx="1158252" cy="1158252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5114975" y="6162355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8187" y="4793656"/>
            <a:ext cx="1277713" cy="1277713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7338283" y="6127777"/>
            <a:ext cx="1777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ademy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9228041" y="4064883"/>
            <a:ext cx="25798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9"/>
              </a:rPr>
              <a:t>prosv.ru/pages/pisa.html</a:t>
            </a:r>
            <a:r>
              <a:rPr lang="en-US" dirty="0"/>
              <a:t> </a:t>
            </a:r>
            <a:endParaRPr lang="en-US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6177149" y="4117984"/>
            <a:ext cx="2256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/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lama</a:t>
            </a:r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=""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5781428" y="2445247"/>
            <a:ext cx="2988143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>
                <a:solidFill>
                  <a:schemeClr val="bg1"/>
                </a:solidFill>
              </a:rPr>
              <a:t>Презентации и рекламные материалы</a:t>
            </a: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841" y="3184773"/>
            <a:ext cx="1045315" cy="81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822" y="3275015"/>
            <a:ext cx="1423842" cy="80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1</a:t>
            </a:fld>
            <a:endParaRPr lang="ru-RU" dirty="0"/>
          </a:p>
        </p:txBody>
      </p:sp>
      <p:sp>
        <p:nvSpPr>
          <p:cNvPr id="91" name="Прямоугольник 90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92" name="Picture 1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658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3" name="TextBox 92"/>
          <p:cNvSpPr txBox="1"/>
          <p:nvPr/>
        </p:nvSpPr>
        <p:spPr>
          <a:xfrm>
            <a:off x="9999658" y="627445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8344268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ВНИМАНИЕ!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680854" y="2563374"/>
            <a:ext cx="8329865" cy="22929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 16, стр. 3, подъезд 8,  бизнес-центр «Новослободский»</a:t>
            </a:r>
            <a:b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8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8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1</a:t>
            </a:r>
            <a:b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8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20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8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2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20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endParaRPr lang="ru-RU" sz="36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212" y="2475336"/>
            <a:ext cx="2011642" cy="2011642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24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</p:spTree>
    <p:extLst>
      <p:ext uri="{BB962C8B-B14F-4D97-AF65-F5344CB8AC3E}">
        <p14:creationId xmlns:p14="http://schemas.microsoft.com/office/powerpoint/2010/main" val="243382839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=""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957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=""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3" name="Группа 23">
            <a:extLst>
              <a:ext uri="{FF2B5EF4-FFF2-40B4-BE49-F238E27FC236}">
                <a16:creationId xmlns=""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4807264" y="1202085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820327" y="2017376"/>
            <a:ext cx="21311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сновано в 1930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46907" y="2552898"/>
            <a:ext cx="105439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dirty="0">
                <a:solidFill>
                  <a:schemeClr val="bg1"/>
                </a:solidFill>
              </a:rPr>
              <a:t>Спасибо за совместную работу!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62113" y="5954233"/>
            <a:ext cx="1154695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</a:t>
            </a:r>
          </a:p>
          <a:p>
            <a:r>
              <a:rPr lang="ru-RU" sz="1000" dirty="0">
                <a:solidFill>
                  <a:schemeClr val="bg1"/>
                </a:solidFill>
              </a:rPr>
              <a:t>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Издательство «Просвещение», 2020 г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909847" y="4343400"/>
            <a:ext cx="80719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обротина Ирина Нургаиновна, 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10"/>
              </a:rPr>
              <a:t>dobrotina.irina@yandex.ru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666444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325858" y="1764321"/>
            <a:ext cx="5009264" cy="4627323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338958" y="1744278"/>
            <a:ext cx="4996164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ная область  «Родной язык и литературное чтение на родном языке» </a:t>
            </a:r>
            <a:r>
              <a:rPr lang="en-US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            </a:t>
            </a: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начальной школы представлена учебными предметами </a:t>
            </a:r>
            <a:r>
              <a:rPr lang="ru-RU" sz="2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Родной язык (уточнение)» и «Литературное чтение на родном (уточнение) языке»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4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38957" y="1036392"/>
            <a:ext cx="538643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МК «Литературное чтение </a:t>
            </a:r>
            <a:r>
              <a:rPr lang="en-US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 родном русском языке» </a:t>
            </a:r>
            <a:r>
              <a:rPr lang="en-US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4 классы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81769" y="4057940"/>
            <a:ext cx="1743622" cy="2390984"/>
          </a:xfrm>
          <a:prstGeom prst="rect">
            <a:avLst/>
          </a:prstGeom>
          <a:ln>
            <a:solidFill>
              <a:srgbClr val="FF0000"/>
            </a:solidFill>
          </a:ln>
        </p:spPr>
      </p:pic>
      <p:sp>
        <p:nvSpPr>
          <p:cNvPr id="50" name="Прямоугольник 49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6407572" y="1764322"/>
            <a:ext cx="5009264" cy="4587236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929147" y="3976455"/>
            <a:ext cx="1762669" cy="2472469"/>
          </a:xfrm>
          <a:prstGeom prst="rect">
            <a:avLst/>
          </a:prstGeom>
          <a:ln>
            <a:solidFill>
              <a:srgbClr val="00B0F0"/>
            </a:solidFill>
          </a:ln>
        </p:spPr>
      </p:pic>
      <p:sp>
        <p:nvSpPr>
          <p:cNvPr id="51" name="Прямоугольник 50"/>
          <p:cNvSpPr/>
          <p:nvPr/>
        </p:nvSpPr>
        <p:spPr>
          <a:xfrm>
            <a:off x="6402439" y="1036392"/>
            <a:ext cx="498306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МК «Родная русская литература» </a:t>
            </a:r>
          </a:p>
          <a:p>
            <a:pPr algn="just">
              <a:spcAft>
                <a:spcPts val="0"/>
              </a:spcAft>
            </a:pP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-9 классы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407572" y="1764322"/>
            <a:ext cx="486646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ная область  «Родной язык и родная литература» для основной школы представлена учебными предметами </a:t>
            </a:r>
            <a:r>
              <a:rPr lang="ru-RU" sz="2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Родной язык (уточнение) » и «Родная  литература (уточнение)»</a:t>
            </a:r>
          </a:p>
          <a:p>
            <a:pPr lvl="0"/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7" name="Рисунок 56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7572" y="4489427"/>
            <a:ext cx="1250528" cy="1864181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sx="1000" sy="1000" algn="tl" rotWithShape="0">
              <a:srgbClr val="333333"/>
            </a:outerShdw>
          </a:effectLst>
        </p:spPr>
      </p:pic>
      <p:pic>
        <p:nvPicPr>
          <p:cNvPr id="76" name="Рисунок 75"/>
          <p:cNvPicPr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0836" y="4489427"/>
            <a:ext cx="1330037" cy="1862131"/>
          </a:xfrm>
          <a:prstGeom prst="rect">
            <a:avLst/>
          </a:prstGeom>
          <a:ln w="9525">
            <a:solidFill>
              <a:schemeClr val="tx1"/>
            </a:solidFill>
          </a:ln>
          <a:effectLst>
            <a:outerShdw sx="1000" sy="1000" algn="tl" rotWithShape="0">
              <a:srgbClr val="333333"/>
            </a:outerShdw>
          </a:effectLst>
        </p:spPr>
      </p:pic>
      <p:pic>
        <p:nvPicPr>
          <p:cNvPr id="77" name="Рисунок 76"/>
          <p:cNvPicPr>
            <a:picLocks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57" y="4489427"/>
            <a:ext cx="1386873" cy="190221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sx="1000" sy="1000" algn="tl" rotWithShape="0">
              <a:srgbClr val="333333"/>
            </a:outerShdw>
          </a:effectLst>
        </p:spPr>
      </p:pic>
      <p:pic>
        <p:nvPicPr>
          <p:cNvPr id="78" name="Picture 4" descr="\\arkansas.msk.prosv.ru\From red\презентации\Обложки Русский родной язык\RR_YZIK _4.jpg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409" y="4475794"/>
            <a:ext cx="1434869" cy="1929483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sx="1000" sy="1000" algn="tl" rotWithShape="0">
              <a:srgbClr val="333333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9" name="Прямоугольник 7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80" name="Picture 1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0514" y="361983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1" name="TextBox 80"/>
          <p:cNvSpPr txBox="1"/>
          <p:nvPr/>
        </p:nvSpPr>
        <p:spPr>
          <a:xfrm>
            <a:off x="10440514" y="722346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82" name="Прямая соединительная линия 81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28600" y="280555"/>
            <a:ext cx="962198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70C0"/>
                </a:solidFill>
              </a:rPr>
              <a:t>Предметная область «Родной язык и родная литература»</a:t>
            </a:r>
          </a:p>
        </p:txBody>
      </p:sp>
    </p:spTree>
    <p:extLst>
      <p:ext uri="{BB962C8B-B14F-4D97-AF65-F5344CB8AC3E}">
        <p14:creationId xmlns:p14="http://schemas.microsoft.com/office/powerpoint/2010/main" val="1200456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09365"/>
          </a:xfrm>
        </p:spPr>
        <p:txBody>
          <a:bodyPr>
            <a:normAutofit/>
          </a:bodyPr>
          <a:lstStyle/>
          <a:p>
            <a:r>
              <a:rPr lang="ru-RU" sz="3600" b="1" dirty="0">
                <a:solidFill>
                  <a:srgbClr val="2D2B8D"/>
                </a:solidFill>
              </a:rPr>
              <a:t>Мониторинг обеспеченности программами</a:t>
            </a:r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477672" y="1274490"/>
            <a:ext cx="11423175" cy="5256485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ru-RU" dirty="0"/>
              <a:t>	Согласно данным федерального мониторинга (Институт развития родных языков народов Российской Федерации), реализация образовательных программ в субъектах Российской Федерации в 2018-2019 учебном году осуществлялась по 76 родным языкам из числа языков народов России.</a:t>
            </a:r>
          </a:p>
          <a:p>
            <a:pPr marL="0" indent="0">
              <a:buNone/>
            </a:pPr>
            <a:r>
              <a:rPr lang="ru-RU" dirty="0"/>
              <a:t>	По состоянию на 27 февраля 2020 г. в Реестр примерных основных образовательных программ  включён:</a:t>
            </a:r>
          </a:p>
          <a:p>
            <a:pPr marL="0" indent="0">
              <a:buNone/>
            </a:pPr>
            <a:r>
              <a:rPr lang="ru-RU" dirty="0"/>
              <a:t>-	полный комплект ПООП (родной язык и родная литература </a:t>
            </a:r>
            <a:r>
              <a:rPr lang="ru-RU" u="sng" dirty="0"/>
              <a:t>для всех уровней образования</a:t>
            </a:r>
            <a:r>
              <a:rPr lang="ru-RU" dirty="0"/>
              <a:t>) </a:t>
            </a:r>
            <a:r>
              <a:rPr lang="ru-RU" u="sng" dirty="0"/>
              <a:t>по семи языкам </a:t>
            </a:r>
            <a:r>
              <a:rPr lang="ru-RU" dirty="0"/>
              <a:t>(башкирскому, карачаево-балкарскому, крымско-татарскому, татарскому, украинскому, хакасскому, чеченскому);</a:t>
            </a:r>
          </a:p>
          <a:p>
            <a:pPr marL="0" indent="0">
              <a:buNone/>
            </a:pPr>
            <a:r>
              <a:rPr lang="ru-RU" dirty="0"/>
              <a:t>-	комплект ПООП по родному языку и родной литературе </a:t>
            </a:r>
            <a:r>
              <a:rPr lang="ru-RU" u="sng" dirty="0"/>
              <a:t>для начального и основного общего образования по пяти языкам </a:t>
            </a:r>
            <a:r>
              <a:rPr lang="ru-RU" dirty="0"/>
              <a:t>(алтайскому, кабардино-черкесскому, казахскому, удмуртскому, якутскому);</a:t>
            </a:r>
          </a:p>
          <a:p>
            <a:pPr marL="0" indent="0">
              <a:buNone/>
            </a:pPr>
            <a:r>
              <a:rPr lang="ru-RU" dirty="0"/>
              <a:t>-	полный комплект ПООП </a:t>
            </a:r>
            <a:r>
              <a:rPr lang="ru-RU" u="sng" dirty="0"/>
              <a:t>только по родному языку по трём языкам </a:t>
            </a:r>
            <a:r>
              <a:rPr lang="ru-RU" dirty="0"/>
              <a:t>(вепсскому, карельскому, финскому);</a:t>
            </a:r>
          </a:p>
          <a:p>
            <a:pPr marL="0" indent="0">
              <a:buNone/>
            </a:pPr>
            <a:r>
              <a:rPr lang="ru-RU" dirty="0"/>
              <a:t>-	</a:t>
            </a:r>
            <a:r>
              <a:rPr lang="ru-RU" dirty="0">
                <a:solidFill>
                  <a:srgbClr val="FF0000"/>
                </a:solidFill>
              </a:rPr>
              <a:t>комплект ПООП </a:t>
            </a:r>
            <a:r>
              <a:rPr lang="ru-RU" u="sng" dirty="0">
                <a:solidFill>
                  <a:srgbClr val="FF0000"/>
                </a:solidFill>
              </a:rPr>
              <a:t>только по родному языку для начального и основного общего образования по </a:t>
            </a:r>
            <a:r>
              <a:rPr lang="ru-RU" u="sng" dirty="0" err="1">
                <a:solidFill>
                  <a:srgbClr val="FF0000"/>
                </a:solidFill>
              </a:rPr>
              <a:t>трем</a:t>
            </a:r>
            <a:r>
              <a:rPr lang="ru-RU" u="sng" dirty="0">
                <a:solidFill>
                  <a:srgbClr val="FF0000"/>
                </a:solidFill>
              </a:rPr>
              <a:t> языкам</a:t>
            </a:r>
            <a:r>
              <a:rPr lang="ru-RU" dirty="0">
                <a:solidFill>
                  <a:srgbClr val="FF0000"/>
                </a:solidFill>
              </a:rPr>
              <a:t> (</a:t>
            </a:r>
            <a:r>
              <a:rPr lang="ru-RU" dirty="0" err="1">
                <a:solidFill>
                  <a:srgbClr val="FF0000"/>
                </a:solidFill>
              </a:rPr>
              <a:t>коми</a:t>
            </a:r>
            <a:r>
              <a:rPr lang="ru-RU" dirty="0">
                <a:solidFill>
                  <a:srgbClr val="FF0000"/>
                </a:solidFill>
              </a:rPr>
              <a:t>, русскому, чувашскому);</a:t>
            </a:r>
          </a:p>
          <a:p>
            <a:pPr marL="0" indent="0">
              <a:buNone/>
            </a:pPr>
            <a:r>
              <a:rPr lang="ru-RU" dirty="0"/>
              <a:t>-	комплект ПООП </a:t>
            </a:r>
            <a:r>
              <a:rPr lang="ru-RU" u="sng" dirty="0"/>
              <a:t>для начального уровня образования по двум языкам</a:t>
            </a:r>
            <a:r>
              <a:rPr lang="ru-RU" dirty="0"/>
              <a:t> (</a:t>
            </a:r>
            <a:r>
              <a:rPr lang="ru-RU" dirty="0" err="1"/>
              <a:t>мокшанский</a:t>
            </a:r>
            <a:r>
              <a:rPr lang="ru-RU" dirty="0"/>
              <a:t>, эрзянский). </a:t>
            </a:r>
          </a:p>
          <a:p>
            <a:pPr marL="0" indent="0">
              <a:buNone/>
            </a:pPr>
            <a:r>
              <a:rPr lang="ru-RU" dirty="0"/>
              <a:t>	По 55 языкам ПООП не разработаны или находятся на стадии экспертизы.</a:t>
            </a:r>
          </a:p>
          <a:p>
            <a:endParaRPr lang="ru-RU" dirty="0"/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69545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8518" y="380343"/>
            <a:ext cx="10972800" cy="48772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fgosreestr.ru/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88696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 descr="Screenshot_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1577" y="-6467"/>
            <a:ext cx="2790423" cy="874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2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6" t="9950" r="18806" b="9254"/>
          <a:stretch/>
        </p:blipFill>
        <p:spPr bwMode="auto">
          <a:xfrm>
            <a:off x="2209204" y="945931"/>
            <a:ext cx="7798615" cy="5594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0052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6407572" y="1150865"/>
            <a:ext cx="5009264" cy="5684753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6502214" y="1253046"/>
            <a:ext cx="4962400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ы «Литература» и   «Родная ли­тература (русская)» нельзя интегрировать в один курс: 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ни входят в разные предметные области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эти предметы  предполагают разную итоговую аттестацию;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аттестат об основном общем образовании вносятся отметки по учебным предметам "Русский язык", "Родной язык (русский)", "Литература" и "Родная литература (русская)".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учебном плане на их из­учение отводятся отдельные часы.</a:t>
            </a:r>
            <a:r>
              <a:rPr lang="ru-RU" sz="2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  <a:p>
            <a:pPr lvl="0"/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7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44657" y="1150865"/>
            <a:ext cx="5883408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Родная  литература (русская) » и «Ли­тература» имеют </a:t>
            </a:r>
            <a:r>
              <a:rPr lang="ru-RU" sz="20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ий объект/предмет изучения</a:t>
            </a: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 это  </a:t>
            </a:r>
            <a:r>
              <a:rPr lang="ru-RU" sz="20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ные учебные предметы</a:t>
            </a: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которые  различаются: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левыми установками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оритетными личностными резуль­татами;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нием, т. е. отбором произведений.</a:t>
            </a:r>
          </a:p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урс русской родной литературы является дополнительным по своему содержанию к пред­мету «Литература» и должен учитывать особенности функционирования русского языка и восприятия русской литературы в разных регионах Российской Федерации.</a:t>
            </a:r>
          </a:p>
          <a:p>
            <a:endParaRPr lang="ru-RU" dirty="0">
              <a:solidFill>
                <a:srgbClr val="000000"/>
              </a:solidFill>
              <a:latin typeface="Times New Roman" panose="02020603050405020304" pitchFamily="18" charset="0"/>
              <a:ea typeface="Microsoft Sans Serif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50718" y="133368"/>
            <a:ext cx="95838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зличие учебных предметов  </a:t>
            </a:r>
          </a:p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Литература» и «Родная литература (русская)»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382498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742861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12902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6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=""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6632295" y="1042065"/>
            <a:ext cx="4784541" cy="4796806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</a:t>
            </a:r>
          </a:p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 (русская)» не повторяет содержания  курса «Литература» и сведений     по истории и теории литературы </a:t>
            </a:r>
          </a:p>
          <a:p>
            <a:pPr lvl="0"/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65056" y="1134763"/>
            <a:ext cx="6267239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ый предмет «Родная литература (русская)» нацелен               на </a:t>
            </a:r>
            <a:r>
              <a:rPr lang="ru-RU" sz="2000" dirty="0">
                <a:solidFill>
                  <a:srgbClr val="2F5597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е интереса к родной русской литературе и русской культуре в контексте единого исторического и культурного пространства России, диалога культур всех народов Российской Федерации</a:t>
            </a:r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 </a:t>
            </a:r>
          </a:p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снову нового предмета положена система ценностных кодов - единых для россий­ской национальной культурной традиции. </a:t>
            </a:r>
          </a:p>
          <a:p>
            <a:r>
              <a:rPr lang="ru-RU" sz="20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ча нового предмета - расширить литературный и культурный кругозор обучающихся за счет их знакомства                 с дополнительными произведениями фольклора, русской клас­сики и современной литературы, наиболее ярко воплотивши­ми национальные особенности русской литературы и культуры и актуализирующими вечные проблемы и ценности.</a:t>
            </a:r>
            <a:endParaRPr lang="ru-RU" sz="2000" dirty="0">
              <a:solidFill>
                <a:srgbClr val="000000"/>
              </a:solidFill>
              <a:latin typeface="Times New Roman" panose="02020603050405020304" pitchFamily="18" charset="0"/>
              <a:ea typeface="Microsoft Sans Serif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Задачи учебного предмета «Родная литература (русская)» </a:t>
            </a:r>
          </a:p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-9 классы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79549" y="3125642"/>
            <a:ext cx="1440468" cy="20122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9782" y="3670124"/>
            <a:ext cx="1354251" cy="202409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88114" y="4222537"/>
            <a:ext cx="1305075" cy="1830609"/>
          </a:xfrm>
          <a:prstGeom prst="rect">
            <a:avLst/>
          </a:prstGeom>
        </p:spPr>
      </p:pic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2638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6765577" y="3854743"/>
            <a:ext cx="5024385" cy="276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dirty="0"/>
              <a:t>      </a:t>
            </a:r>
            <a:endParaRPr lang="ru-RU" sz="16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=""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=""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=""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=""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=""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=""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=""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=""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=""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=""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=""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=""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=""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=""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53" name="Прямоугольник 52"/>
          <p:cNvSpPr/>
          <p:nvPr/>
        </p:nvSpPr>
        <p:spPr>
          <a:xfrm>
            <a:off x="7370975" y="1543452"/>
            <a:ext cx="435983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 «Родная русская </a:t>
            </a:r>
          </a:p>
          <a:p>
            <a:pPr lvl="0"/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­тература» не повторяет содержания  курса «Литература» и сведений                         по истории и теории литературы .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dirty="0">
              <a:solidFill>
                <a:schemeClr val="lt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9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6925" y="211068"/>
            <a:ext cx="100076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ru-RU" sz="2400" b="1" dirty="0">
                <a:solidFill>
                  <a:srgbClr val="0070C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пыт регионов (Курская область)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Издательство "Просвещение", 2020</a:t>
            </a:r>
          </a:p>
        </p:txBody>
      </p:sp>
      <p:pic>
        <p:nvPicPr>
          <p:cNvPr id="50" name="Picture 1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9147" y="202316"/>
            <a:ext cx="1036638" cy="3603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TextBox 50"/>
          <p:cNvSpPr txBox="1"/>
          <p:nvPr/>
        </p:nvSpPr>
        <p:spPr>
          <a:xfrm>
            <a:off x="9929147" y="562679"/>
            <a:ext cx="99511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2D2B8D"/>
                </a:solidFill>
              </a:rPr>
              <a:t>основано в 1930</a:t>
            </a:r>
          </a:p>
        </p:txBody>
      </p: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973693"/>
            <a:ext cx="11416836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234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07" t="12615" r="24642" b="43657"/>
          <a:stretch/>
        </p:blipFill>
        <p:spPr bwMode="auto">
          <a:xfrm>
            <a:off x="126925" y="1075429"/>
            <a:ext cx="4819080" cy="4011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235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911" t="17557" r="60170" b="63548"/>
          <a:stretch/>
        </p:blipFill>
        <p:spPr bwMode="auto">
          <a:xfrm>
            <a:off x="4886024" y="4342448"/>
            <a:ext cx="6844783" cy="2515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236" name="Picture 4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51" t="18414" r="23742" b="37647"/>
          <a:stretch/>
        </p:blipFill>
        <p:spPr bwMode="auto">
          <a:xfrm>
            <a:off x="6226105" y="237456"/>
            <a:ext cx="4920556" cy="394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60506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534</TotalTime>
  <Words>5895</Words>
  <Application>Microsoft Office PowerPoint</Application>
  <PresentationFormat>Произвольный</PresentationFormat>
  <Paragraphs>580</Paragraphs>
  <Slides>33</Slides>
  <Notes>2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3</vt:i4>
      </vt:variant>
    </vt:vector>
  </HeadingPairs>
  <TitlesOfParts>
    <vt:vector size="35" baseType="lpstr">
      <vt:lpstr>Тема Office</vt:lpstr>
      <vt:lpstr>Слайд think-cell</vt:lpstr>
      <vt:lpstr>ГРУППА КОМПАНИЙ «ПРОСВЕЩЕНИЕ» </vt:lpstr>
      <vt:lpstr>Презентация PowerPoint</vt:lpstr>
      <vt:lpstr>Презентация PowerPoint</vt:lpstr>
      <vt:lpstr>Презентация PowerPoint</vt:lpstr>
      <vt:lpstr>Мониторинг обеспеченности программами</vt:lpstr>
      <vt:lpstr>https://fgosreestr.ru/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ы для педагогов на сайте                                                 Группы компаний «Просвещение» prosv.ru </vt:lpstr>
      <vt:lpstr>СПАСИБО ЗА ВНИМАНИЕ! 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123</cp:lastModifiedBy>
  <cp:revision>925</cp:revision>
  <cp:lastPrinted>2019-08-02T09:06:22Z</cp:lastPrinted>
  <dcterms:created xsi:type="dcterms:W3CDTF">2018-07-24T05:59:49Z</dcterms:created>
  <dcterms:modified xsi:type="dcterms:W3CDTF">2020-08-13T07:37:43Z</dcterms:modified>
</cp:coreProperties>
</file>